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30" r:id="rId2"/>
    <p:sldId id="329" r:id="rId3"/>
    <p:sldId id="334" r:id="rId4"/>
    <p:sldId id="335" r:id="rId5"/>
    <p:sldId id="336" r:id="rId6"/>
    <p:sldId id="328" r:id="rId7"/>
  </p:sldIdLst>
  <p:sldSz cx="9144000" cy="5143500" type="screen16x9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74">
          <p15:clr>
            <a:srgbClr val="A4A3A4"/>
          </p15:clr>
        </p15:guide>
        <p15:guide id="2" orient="horz" pos="2946">
          <p15:clr>
            <a:srgbClr val="A4A3A4"/>
          </p15:clr>
        </p15:guide>
        <p15:guide id="3" orient="horz" pos="192">
          <p15:clr>
            <a:srgbClr val="A4A3A4"/>
          </p15:clr>
        </p15:guide>
        <p15:guide id="4" orient="horz" pos="808">
          <p15:clr>
            <a:srgbClr val="A4A3A4"/>
          </p15:clr>
        </p15:guide>
        <p15:guide id="5" orient="horz" pos="2755">
          <p15:clr>
            <a:srgbClr val="A4A3A4"/>
          </p15:clr>
        </p15:guide>
        <p15:guide id="6" orient="horz" pos="691">
          <p15:clr>
            <a:srgbClr val="A4A3A4"/>
          </p15:clr>
        </p15:guide>
        <p15:guide id="7" pos="2880">
          <p15:clr>
            <a:srgbClr val="A4A3A4"/>
          </p15:clr>
        </p15:guide>
        <p15:guide id="8" pos="5465">
          <p15:clr>
            <a:srgbClr val="A4A3A4"/>
          </p15:clr>
        </p15:guide>
        <p15:guide id="9" pos="293">
          <p15:clr>
            <a:srgbClr val="A4A3A4"/>
          </p15:clr>
        </p15:guide>
        <p15:guide id="10" pos="5172">
          <p15:clr>
            <a:srgbClr val="A4A3A4"/>
          </p15:clr>
        </p15:guide>
        <p15:guide id="11" pos="2586">
          <p15:clr>
            <a:srgbClr val="A4A3A4"/>
          </p15:clr>
        </p15:guide>
        <p15:guide id="12" pos="2732">
          <p15:clr>
            <a:srgbClr val="A4A3A4"/>
          </p15:clr>
        </p15:guide>
        <p15:guide id="13" orient="horz" pos="2948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692">
          <p15:clr>
            <a:srgbClr val="A4A3A4"/>
          </p15:clr>
        </p15:guide>
        <p15:guide id="16" pos="294">
          <p15:clr>
            <a:srgbClr val="A4A3A4"/>
          </p15:clr>
        </p15:guide>
        <p15:guide id="17" pos="5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4FFF6B-AB78-42E4-ABD0-6DE8BD7C4482}" v="210" dt="2020-05-29T09:06:24.3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89180" autoAdjust="0"/>
  </p:normalViewPr>
  <p:slideViewPr>
    <p:cSldViewPr snapToGrid="0" snapToObjects="1" showGuides="1">
      <p:cViewPr varScale="1">
        <p:scale>
          <a:sx n="133" d="100"/>
          <a:sy n="133" d="100"/>
        </p:scale>
        <p:origin x="144" y="786"/>
      </p:cViewPr>
      <p:guideLst>
        <p:guide orient="horz" pos="1474"/>
        <p:guide orient="horz" pos="2946"/>
        <p:guide orient="horz" pos="192"/>
        <p:guide orient="horz" pos="808"/>
        <p:guide orient="horz" pos="2755"/>
        <p:guide orient="horz" pos="691"/>
        <p:guide pos="2880"/>
        <p:guide pos="5465"/>
        <p:guide pos="293"/>
        <p:guide pos="5172"/>
        <p:guide pos="2586"/>
        <p:guide pos="2732"/>
        <p:guide orient="horz" pos="2948"/>
        <p:guide orient="horz" pos="804"/>
        <p:guide orient="horz" pos="692"/>
        <p:guide pos="294"/>
        <p:guide pos="51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15"/>
    </p:cViewPr>
  </p:sorterViewPr>
  <p:notesViewPr>
    <p:cSldViewPr snapToGrid="0" snapToObjects="1" showGuides="1">
      <p:cViewPr varScale="1">
        <p:scale>
          <a:sx n="68" d="100"/>
          <a:sy n="68" d="100"/>
        </p:scale>
        <p:origin x="-2995" y="-77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ornima Kamath" userId="25967232-06dc-4f58-b9f6-3e4b514928b3" providerId="ADAL" clId="{4A4FFF6B-AB78-42E4-ABD0-6DE8BD7C4482}"/>
    <pc:docChg chg="undo custSel addSld delSld modSld sldOrd">
      <pc:chgData name="Poornima Kamath" userId="25967232-06dc-4f58-b9f6-3e4b514928b3" providerId="ADAL" clId="{4A4FFF6B-AB78-42E4-ABD0-6DE8BD7C4482}" dt="2020-05-29T09:06:24.377" v="209" actId="478"/>
      <pc:docMkLst>
        <pc:docMk/>
      </pc:docMkLst>
      <pc:sldChg chg="ord">
        <pc:chgData name="Poornima Kamath" userId="25967232-06dc-4f58-b9f6-3e4b514928b3" providerId="ADAL" clId="{4A4FFF6B-AB78-42E4-ABD0-6DE8BD7C4482}" dt="2020-05-29T07:47:34.814" v="60"/>
        <pc:sldMkLst>
          <pc:docMk/>
          <pc:sldMk cId="3255648316" sldId="328"/>
        </pc:sldMkLst>
      </pc:sldChg>
      <pc:sldChg chg="delSp">
        <pc:chgData name="Poornima Kamath" userId="25967232-06dc-4f58-b9f6-3e4b514928b3" providerId="ADAL" clId="{4A4FFF6B-AB78-42E4-ABD0-6DE8BD7C4482}" dt="2020-05-29T09:06:16.865" v="206" actId="478"/>
        <pc:sldMkLst>
          <pc:docMk/>
          <pc:sldMk cId="3046093143" sldId="329"/>
        </pc:sldMkLst>
        <pc:picChg chg="del">
          <ac:chgData name="Poornima Kamath" userId="25967232-06dc-4f58-b9f6-3e4b514928b3" providerId="ADAL" clId="{4A4FFF6B-AB78-42E4-ABD0-6DE8BD7C4482}" dt="2020-05-29T09:06:16.865" v="206" actId="478"/>
          <ac:picMkLst>
            <pc:docMk/>
            <pc:sldMk cId="3046093143" sldId="329"/>
            <ac:picMk id="13" creationId="{FB3A31EB-4EB6-4C8E-BEA5-A23F6CA4EA35}"/>
          </ac:picMkLst>
        </pc:picChg>
      </pc:sldChg>
      <pc:sldChg chg="addSp delSp modSp">
        <pc:chgData name="Poornima Kamath" userId="25967232-06dc-4f58-b9f6-3e4b514928b3" providerId="ADAL" clId="{4A4FFF6B-AB78-42E4-ABD0-6DE8BD7C4482}" dt="2020-05-29T09:06:13.425" v="205" actId="478"/>
        <pc:sldMkLst>
          <pc:docMk/>
          <pc:sldMk cId="3315794716" sldId="330"/>
        </pc:sldMkLst>
        <pc:spChg chg="add mod">
          <ac:chgData name="Poornima Kamath" userId="25967232-06dc-4f58-b9f6-3e4b514928b3" providerId="ADAL" clId="{4A4FFF6B-AB78-42E4-ABD0-6DE8BD7C4482}" dt="2020-05-29T09:06:00.816" v="204" actId="403"/>
          <ac:spMkLst>
            <pc:docMk/>
            <pc:sldMk cId="3315794716" sldId="330"/>
            <ac:spMk id="9" creationId="{A6DB9C7E-23B2-4AC9-B151-F5ECF343F7EF}"/>
          </ac:spMkLst>
        </pc:spChg>
        <pc:picChg chg="del">
          <ac:chgData name="Poornima Kamath" userId="25967232-06dc-4f58-b9f6-3e4b514928b3" providerId="ADAL" clId="{4A4FFF6B-AB78-42E4-ABD0-6DE8BD7C4482}" dt="2020-05-29T09:06:13.425" v="205" actId="478"/>
          <ac:picMkLst>
            <pc:docMk/>
            <pc:sldMk cId="3315794716" sldId="330"/>
            <ac:picMk id="29" creationId="{A14C3EC5-1E07-4937-B2F6-5DF77B400595}"/>
          </ac:picMkLst>
        </pc:picChg>
      </pc:sldChg>
      <pc:sldChg chg="del">
        <pc:chgData name="Poornima Kamath" userId="25967232-06dc-4f58-b9f6-3e4b514928b3" providerId="ADAL" clId="{4A4FFF6B-AB78-42E4-ABD0-6DE8BD7C4482}" dt="2020-05-29T07:46:43.170" v="1" actId="2696"/>
        <pc:sldMkLst>
          <pc:docMk/>
          <pc:sldMk cId="3960863502" sldId="331"/>
        </pc:sldMkLst>
      </pc:sldChg>
      <pc:sldChg chg="del">
        <pc:chgData name="Poornima Kamath" userId="25967232-06dc-4f58-b9f6-3e4b514928b3" providerId="ADAL" clId="{4A4FFF6B-AB78-42E4-ABD0-6DE8BD7C4482}" dt="2020-05-29T07:45:51.073" v="0" actId="2696"/>
        <pc:sldMkLst>
          <pc:docMk/>
          <pc:sldMk cId="2414281519" sldId="333"/>
        </pc:sldMkLst>
      </pc:sldChg>
      <pc:sldChg chg="delSp modSp">
        <pc:chgData name="Poornima Kamath" userId="25967232-06dc-4f58-b9f6-3e4b514928b3" providerId="ADAL" clId="{4A4FFF6B-AB78-42E4-ABD0-6DE8BD7C4482}" dt="2020-05-29T09:06:19.468" v="207" actId="478"/>
        <pc:sldMkLst>
          <pc:docMk/>
          <pc:sldMk cId="3748919421" sldId="334"/>
        </pc:sldMkLst>
        <pc:spChg chg="mod">
          <ac:chgData name="Poornima Kamath" userId="25967232-06dc-4f58-b9f6-3e4b514928b3" providerId="ADAL" clId="{4A4FFF6B-AB78-42E4-ABD0-6DE8BD7C4482}" dt="2020-05-29T07:47:19.489" v="56" actId="20577"/>
          <ac:spMkLst>
            <pc:docMk/>
            <pc:sldMk cId="3748919421" sldId="334"/>
            <ac:spMk id="15" creationId="{63AC6D90-55FC-48B8-BB6A-1706425B3B4D}"/>
          </ac:spMkLst>
        </pc:spChg>
        <pc:picChg chg="del">
          <ac:chgData name="Poornima Kamath" userId="25967232-06dc-4f58-b9f6-3e4b514928b3" providerId="ADAL" clId="{4A4FFF6B-AB78-42E4-ABD0-6DE8BD7C4482}" dt="2020-05-29T09:06:19.468" v="207" actId="478"/>
          <ac:picMkLst>
            <pc:docMk/>
            <pc:sldMk cId="3748919421" sldId="334"/>
            <ac:picMk id="13" creationId="{FB3A31EB-4EB6-4C8E-BEA5-A23F6CA4EA35}"/>
          </ac:picMkLst>
        </pc:picChg>
      </pc:sldChg>
      <pc:sldChg chg="delSp">
        <pc:chgData name="Poornima Kamath" userId="25967232-06dc-4f58-b9f6-3e4b514928b3" providerId="ADAL" clId="{4A4FFF6B-AB78-42E4-ABD0-6DE8BD7C4482}" dt="2020-05-29T09:06:21.892" v="208" actId="478"/>
        <pc:sldMkLst>
          <pc:docMk/>
          <pc:sldMk cId="661416437" sldId="335"/>
        </pc:sldMkLst>
        <pc:picChg chg="del">
          <ac:chgData name="Poornima Kamath" userId="25967232-06dc-4f58-b9f6-3e4b514928b3" providerId="ADAL" clId="{4A4FFF6B-AB78-42E4-ABD0-6DE8BD7C4482}" dt="2020-05-29T09:06:21.892" v="208" actId="478"/>
          <ac:picMkLst>
            <pc:docMk/>
            <pc:sldMk cId="661416437" sldId="335"/>
            <ac:picMk id="13" creationId="{FB3A31EB-4EB6-4C8E-BEA5-A23F6CA4EA35}"/>
          </ac:picMkLst>
        </pc:picChg>
      </pc:sldChg>
      <pc:sldChg chg="add del">
        <pc:chgData name="Poornima Kamath" userId="25967232-06dc-4f58-b9f6-3e4b514928b3" providerId="ADAL" clId="{4A4FFF6B-AB78-42E4-ABD0-6DE8BD7C4482}" dt="2020-05-29T07:47:31.616" v="58" actId="2696"/>
        <pc:sldMkLst>
          <pc:docMk/>
          <pc:sldMk cId="1852253538" sldId="336"/>
        </pc:sldMkLst>
      </pc:sldChg>
      <pc:sldChg chg="addSp delSp modSp add">
        <pc:chgData name="Poornima Kamath" userId="25967232-06dc-4f58-b9f6-3e4b514928b3" providerId="ADAL" clId="{4A4FFF6B-AB78-42E4-ABD0-6DE8BD7C4482}" dt="2020-05-29T09:06:24.377" v="209" actId="478"/>
        <pc:sldMkLst>
          <pc:docMk/>
          <pc:sldMk cId="2918824785" sldId="336"/>
        </pc:sldMkLst>
        <pc:spChg chg="mod">
          <ac:chgData name="Poornima Kamath" userId="25967232-06dc-4f58-b9f6-3e4b514928b3" providerId="ADAL" clId="{4A4FFF6B-AB78-42E4-ABD0-6DE8BD7C4482}" dt="2020-05-29T07:47:48.410" v="71" actId="20577"/>
          <ac:spMkLst>
            <pc:docMk/>
            <pc:sldMk cId="2918824785" sldId="336"/>
            <ac:spMk id="14" creationId="{63480229-2DA2-4051-80D7-8946544F7545}"/>
          </ac:spMkLst>
        </pc:spChg>
        <pc:spChg chg="del">
          <ac:chgData name="Poornima Kamath" userId="25967232-06dc-4f58-b9f6-3e4b514928b3" providerId="ADAL" clId="{4A4FFF6B-AB78-42E4-ABD0-6DE8BD7C4482}" dt="2020-05-29T08:49:08.391" v="77" actId="478"/>
          <ac:spMkLst>
            <pc:docMk/>
            <pc:sldMk cId="2918824785" sldId="336"/>
            <ac:spMk id="17" creationId="{CFE8AA1A-F15F-4843-9830-37BF16834542}"/>
          </ac:spMkLst>
        </pc:spChg>
        <pc:spChg chg="add mod">
          <ac:chgData name="Poornima Kamath" userId="25967232-06dc-4f58-b9f6-3e4b514928b3" providerId="ADAL" clId="{4A4FFF6B-AB78-42E4-ABD0-6DE8BD7C4482}" dt="2020-05-29T08:52:39.195" v="126" actId="113"/>
          <ac:spMkLst>
            <pc:docMk/>
            <pc:sldMk cId="2918824785" sldId="336"/>
            <ac:spMk id="18" creationId="{63437197-5595-4B25-9A79-2E0734DB7441}"/>
          </ac:spMkLst>
        </pc:spChg>
        <pc:spChg chg="del mod">
          <ac:chgData name="Poornima Kamath" userId="25967232-06dc-4f58-b9f6-3e4b514928b3" providerId="ADAL" clId="{4A4FFF6B-AB78-42E4-ABD0-6DE8BD7C4482}" dt="2020-05-29T08:49:09.418" v="78" actId="478"/>
          <ac:spMkLst>
            <pc:docMk/>
            <pc:sldMk cId="2918824785" sldId="336"/>
            <ac:spMk id="19" creationId="{77B3F123-D4ED-4F7D-A9DA-61FB2CCA82EF}"/>
          </ac:spMkLst>
        </pc:spChg>
        <pc:spChg chg="add mod">
          <ac:chgData name="Poornima Kamath" userId="25967232-06dc-4f58-b9f6-3e4b514928b3" providerId="ADAL" clId="{4A4FFF6B-AB78-42E4-ABD0-6DE8BD7C4482}" dt="2020-05-29T08:52:53.992" v="133" actId="20577"/>
          <ac:spMkLst>
            <pc:docMk/>
            <pc:sldMk cId="2918824785" sldId="336"/>
            <ac:spMk id="20" creationId="{A7ADC70C-9184-4068-8E10-DEB28F3F18EC}"/>
          </ac:spMkLst>
        </pc:spChg>
        <pc:graphicFrameChg chg="add del mod">
          <ac:chgData name="Poornima Kamath" userId="25967232-06dc-4f58-b9f6-3e4b514928b3" providerId="ADAL" clId="{4A4FFF6B-AB78-42E4-ABD0-6DE8BD7C4482}" dt="2020-05-29T07:50:30.105" v="75" actId="478"/>
          <ac:graphicFrameMkLst>
            <pc:docMk/>
            <pc:sldMk cId="2918824785" sldId="336"/>
            <ac:graphicFrameMk id="2" creationId="{85F7DBE2-7153-42EB-A0C7-E676DF75DF26}"/>
          </ac:graphicFrameMkLst>
        </pc:graphicFrameChg>
        <pc:graphicFrameChg chg="add del mod">
          <ac:chgData name="Poornima Kamath" userId="25967232-06dc-4f58-b9f6-3e4b514928b3" providerId="ADAL" clId="{4A4FFF6B-AB78-42E4-ABD0-6DE8BD7C4482}" dt="2020-05-29T08:50:01.689" v="80" actId="478"/>
          <ac:graphicFrameMkLst>
            <pc:docMk/>
            <pc:sldMk cId="2918824785" sldId="336"/>
            <ac:graphicFrameMk id="3" creationId="{677D7ED9-A071-41A8-A01C-68254996DE74}"/>
          </ac:graphicFrameMkLst>
        </pc:graphicFrameChg>
        <pc:graphicFrameChg chg="add del mod">
          <ac:chgData name="Poornima Kamath" userId="25967232-06dc-4f58-b9f6-3e4b514928b3" providerId="ADAL" clId="{4A4FFF6B-AB78-42E4-ABD0-6DE8BD7C4482}" dt="2020-05-29T08:50:18.838" v="82" actId="478"/>
          <ac:graphicFrameMkLst>
            <pc:docMk/>
            <pc:sldMk cId="2918824785" sldId="336"/>
            <ac:graphicFrameMk id="7" creationId="{E5E131D3-80B0-4215-A9BB-F00FAE9FD7EA}"/>
          </ac:graphicFrameMkLst>
        </pc:graphicFrameChg>
        <pc:graphicFrameChg chg="add del mod">
          <ac:chgData name="Poornima Kamath" userId="25967232-06dc-4f58-b9f6-3e4b514928b3" providerId="ADAL" clId="{4A4FFF6B-AB78-42E4-ABD0-6DE8BD7C4482}" dt="2020-05-29T08:51:13.149" v="85" actId="478"/>
          <ac:graphicFrameMkLst>
            <pc:docMk/>
            <pc:sldMk cId="2918824785" sldId="336"/>
            <ac:graphicFrameMk id="15" creationId="{2750EF15-2D13-4952-9F1C-3E7D9F1CF03B}"/>
          </ac:graphicFrameMkLst>
        </pc:graphicFrameChg>
        <pc:graphicFrameChg chg="add mod">
          <ac:chgData name="Poornima Kamath" userId="25967232-06dc-4f58-b9f6-3e4b514928b3" providerId="ADAL" clId="{4A4FFF6B-AB78-42E4-ABD0-6DE8BD7C4482}" dt="2020-05-29T08:52:58.225" v="134" actId="1076"/>
          <ac:graphicFrameMkLst>
            <pc:docMk/>
            <pc:sldMk cId="2918824785" sldId="336"/>
            <ac:graphicFrameMk id="16" creationId="{857C564B-849E-49C0-A648-1BB725895547}"/>
          </ac:graphicFrameMkLst>
        </pc:graphicFrameChg>
        <pc:graphicFrameChg chg="add mod">
          <ac:chgData name="Poornima Kamath" userId="25967232-06dc-4f58-b9f6-3e4b514928b3" providerId="ADAL" clId="{4A4FFF6B-AB78-42E4-ABD0-6DE8BD7C4482}" dt="2020-05-29T08:58:10.225" v="136" actId="1076"/>
          <ac:graphicFrameMkLst>
            <pc:docMk/>
            <pc:sldMk cId="2918824785" sldId="336"/>
            <ac:graphicFrameMk id="21" creationId="{F63AC95D-A2AD-4511-AC68-8EFBF66F7CC1}"/>
          </ac:graphicFrameMkLst>
        </pc:graphicFrameChg>
        <pc:graphicFrameChg chg="add del mod modGraphic">
          <ac:chgData name="Poornima Kamath" userId="25967232-06dc-4f58-b9f6-3e4b514928b3" providerId="ADAL" clId="{4A4FFF6B-AB78-42E4-ABD0-6DE8BD7C4482}" dt="2020-05-29T09:02:37.400" v="151" actId="478"/>
          <ac:graphicFrameMkLst>
            <pc:docMk/>
            <pc:sldMk cId="2918824785" sldId="336"/>
            <ac:graphicFrameMk id="22" creationId="{96DAF3D3-A7F0-445B-B304-89C8D89434DD}"/>
          </ac:graphicFrameMkLst>
        </pc:graphicFrameChg>
        <pc:picChg chg="del">
          <ac:chgData name="Poornima Kamath" userId="25967232-06dc-4f58-b9f6-3e4b514928b3" providerId="ADAL" clId="{4A4FFF6B-AB78-42E4-ABD0-6DE8BD7C4482}" dt="2020-05-29T09:06:24.377" v="209" actId="478"/>
          <ac:picMkLst>
            <pc:docMk/>
            <pc:sldMk cId="2918824785" sldId="336"/>
            <ac:picMk id="13" creationId="{FB3A31EB-4EB6-4C8E-BEA5-A23F6CA4EA35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1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6613A-DB89-4875-BF9A-6666AFFFD457}" type="datetimeFigureOut">
              <a:rPr lang="en-GB" smtClean="0"/>
              <a:t>29/05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F48EF4-267F-4D40-A1BA-86E12CC04E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07833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0D532E-E1A2-474A-9D55-51F4881C34F2}" type="datetimeFigureOut">
              <a:rPr lang="en-GB" smtClean="0"/>
              <a:t>5/29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778882-27D7-4149-BD12-D0891E524F4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5848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78882-27D7-4149-BD12-D0891E524F4F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19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78882-27D7-4149-BD12-D0891E524F4F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52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78882-27D7-4149-BD12-D0891E524F4F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78882-27D7-4149-BD12-D0891E524F4F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9145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78882-27D7-4149-BD12-D0891E524F4F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6478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78882-27D7-4149-BD12-D0891E524F4F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834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EDB291-1283-46D1-B8A5-CD0D604BA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851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EDB291-1283-46D1-B8A5-CD0D604BA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tx1">
              <a:lumMod val="25000"/>
              <a:lumOff val="7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4BC368-58FB-4A4E-8315-CD26B13888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8179" y="342473"/>
            <a:ext cx="7480800" cy="3607200"/>
          </a:xfrm>
          <a:blipFill>
            <a:blip r:embed="rId6"/>
            <a:stretch>
              <a:fillRect b="-1880"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5pPr marL="720725" indent="0">
              <a:buNone/>
              <a:defRPr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white">
          <a:xfrm>
            <a:off x="466726" y="343551"/>
            <a:ext cx="7482253" cy="385048"/>
          </a:xfrm>
          <a:noFill/>
        </p:spPr>
        <p:txBody>
          <a:bodyPr lIns="0" rIns="0" anchor="t" anchorCtr="0">
            <a:no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EB051466-C558-4EA8-9A37-86A27AFC0E22}" type="datetime4">
              <a:rPr lang="en-GB" smtClean="0"/>
              <a:pPr/>
              <a:t>29 May 2020</a:t>
            </a:fld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66726" y="728598"/>
            <a:ext cx="7482253" cy="368365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Master subtitle styl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466726" y="1096961"/>
            <a:ext cx="7482253" cy="2851200"/>
          </a:xfrm>
        </p:spPr>
        <p:txBody>
          <a:bodyPr>
            <a:noAutofit/>
          </a:bodyPr>
          <a:lstStyle>
            <a:lvl1pPr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F60A53-A5CB-4221-8112-73983C6174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46651" y="3949673"/>
            <a:ext cx="1202857" cy="1202857"/>
          </a:xfrm>
          <a:blipFill>
            <a:blip r:embed="rId7"/>
            <a:stretch>
              <a:fillRect/>
            </a:stretch>
          </a:blipFill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4238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2x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138" y="1276352"/>
            <a:ext cx="3638551" cy="3097212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6213">
              <a:spcBef>
                <a:spcPts val="400"/>
              </a:spcBef>
              <a:buFont typeface="Wingdings" panose="05000000000000000000" pitchFamily="2" charset="2"/>
              <a:buChar char="§"/>
              <a:defRPr sz="1200"/>
            </a:lvl2pPr>
            <a:lvl3pPr marL="538163" indent="-180975">
              <a:spcBef>
                <a:spcPts val="400"/>
              </a:spcBef>
              <a:buFont typeface="Wingdings" panose="05000000000000000000" pitchFamily="2" charset="2"/>
              <a:buChar char="§"/>
              <a:defRPr sz="1000"/>
            </a:lvl3pPr>
            <a:lvl4pPr marL="720725" indent="-182563">
              <a:spcBef>
                <a:spcPts val="400"/>
              </a:spcBef>
              <a:buFont typeface="Wingdings" panose="05000000000000000000" pitchFamily="2" charset="2"/>
              <a:buChar char="§"/>
              <a:defRPr sz="900"/>
            </a:lvl4pPr>
            <a:lvl5pPr marL="895350" indent="-174625">
              <a:spcBef>
                <a:spcPts val="400"/>
              </a:spcBef>
              <a:buFont typeface="Wingdings" panose="05000000000000000000" pitchFamily="2" charset="2"/>
              <a:buChar char="§"/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0" y="1276352"/>
            <a:ext cx="3636964" cy="30972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Bef>
                <a:spcPts val="400"/>
              </a:spcBef>
              <a:defRPr sz="1200"/>
            </a:lvl2pPr>
            <a:lvl3pPr>
              <a:spcBef>
                <a:spcPts val="400"/>
              </a:spcBef>
              <a:defRPr sz="1000"/>
            </a:lvl3pPr>
            <a:lvl4pPr>
              <a:spcBef>
                <a:spcPts val="400"/>
              </a:spcBef>
              <a:defRPr sz="900"/>
            </a:lvl4pPr>
            <a:lvl5pPr>
              <a:spcBef>
                <a:spcPts val="400"/>
              </a:spcBef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AFFF12EF-03A7-422E-93D1-32F00B40EE65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434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3x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138" y="1276352"/>
            <a:ext cx="2268009" cy="3097212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6213">
              <a:spcBef>
                <a:spcPts val="400"/>
              </a:spcBef>
              <a:buFont typeface="Wingdings" panose="05000000000000000000" pitchFamily="2" charset="2"/>
              <a:buChar char="§"/>
              <a:defRPr sz="1200"/>
            </a:lvl2pPr>
            <a:lvl3pPr marL="538163" indent="-180975">
              <a:spcBef>
                <a:spcPts val="400"/>
              </a:spcBef>
              <a:buFont typeface="Wingdings" panose="05000000000000000000" pitchFamily="2" charset="2"/>
              <a:buChar char="§"/>
              <a:defRPr sz="1000"/>
            </a:lvl3pPr>
            <a:lvl4pPr marL="720725" indent="-182563">
              <a:spcBef>
                <a:spcPts val="400"/>
              </a:spcBef>
              <a:buFont typeface="Wingdings" panose="05000000000000000000" pitchFamily="2" charset="2"/>
              <a:buChar char="§"/>
              <a:defRPr sz="900"/>
            </a:lvl4pPr>
            <a:lvl5pPr marL="895350" indent="-174625">
              <a:spcBef>
                <a:spcPts val="400"/>
              </a:spcBef>
              <a:buFont typeface="Wingdings" panose="05000000000000000000" pitchFamily="2" charset="2"/>
              <a:buChar char="§"/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03048" y="1276352"/>
            <a:ext cx="2268008" cy="30972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Bef>
                <a:spcPts val="400"/>
              </a:spcBef>
              <a:defRPr sz="1200"/>
            </a:lvl2pPr>
            <a:lvl3pPr>
              <a:spcBef>
                <a:spcPts val="400"/>
              </a:spcBef>
              <a:defRPr sz="1000"/>
            </a:lvl3pPr>
            <a:lvl4pPr>
              <a:spcBef>
                <a:spcPts val="400"/>
              </a:spcBef>
              <a:defRPr sz="900"/>
            </a:lvl4pPr>
            <a:lvl5pPr>
              <a:spcBef>
                <a:spcPts val="400"/>
              </a:spcBef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AFFF12EF-03A7-422E-93D1-32F00B40EE65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68097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88814A6-B225-4F50-A106-02D30217508A}"/>
              </a:ext>
            </a:extLst>
          </p:cNvPr>
          <p:cNvCxnSpPr/>
          <p:nvPr userDrawn="1"/>
        </p:nvCxnSpPr>
        <p:spPr>
          <a:xfrm>
            <a:off x="5710025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D2FD426-E0E8-4F9D-8D4C-02CF32F0718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940956" y="1276352"/>
            <a:ext cx="2268008" cy="30972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Bef>
                <a:spcPts val="400"/>
              </a:spcBef>
              <a:defRPr sz="1200"/>
            </a:lvl2pPr>
            <a:lvl3pPr>
              <a:spcBef>
                <a:spcPts val="400"/>
              </a:spcBef>
              <a:defRPr sz="1000"/>
            </a:lvl3pPr>
            <a:lvl4pPr>
              <a:spcBef>
                <a:spcPts val="400"/>
              </a:spcBef>
              <a:defRPr sz="900"/>
            </a:lvl4pPr>
            <a:lvl5pPr>
              <a:spcBef>
                <a:spcPts val="400"/>
              </a:spcBef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18184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4x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138" y="1276353"/>
            <a:ext cx="3638551" cy="1458606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6213">
              <a:spcBef>
                <a:spcPts val="400"/>
              </a:spcBef>
              <a:buFont typeface="Wingdings" panose="05000000000000000000" pitchFamily="2" charset="2"/>
              <a:buChar char="§"/>
              <a:defRPr sz="1200"/>
            </a:lvl2pPr>
            <a:lvl3pPr marL="538163" indent="-180975">
              <a:spcBef>
                <a:spcPts val="400"/>
              </a:spcBef>
              <a:buFont typeface="Wingdings" panose="05000000000000000000" pitchFamily="2" charset="2"/>
              <a:buChar char="§"/>
              <a:defRPr sz="1000"/>
            </a:lvl3pPr>
            <a:lvl4pPr marL="720725" indent="-182563">
              <a:spcBef>
                <a:spcPts val="400"/>
              </a:spcBef>
              <a:buFont typeface="Wingdings" panose="05000000000000000000" pitchFamily="2" charset="2"/>
              <a:buChar char="§"/>
              <a:defRPr sz="900"/>
            </a:lvl4pPr>
            <a:lvl5pPr marL="895350" indent="-174625">
              <a:spcBef>
                <a:spcPts val="400"/>
              </a:spcBef>
              <a:buFont typeface="Wingdings" panose="05000000000000000000" pitchFamily="2" charset="2"/>
              <a:buChar char="§"/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0" y="1276353"/>
            <a:ext cx="3636964" cy="145860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Bef>
                <a:spcPts val="400"/>
              </a:spcBef>
              <a:defRPr sz="1200"/>
            </a:lvl2pPr>
            <a:lvl3pPr>
              <a:spcBef>
                <a:spcPts val="400"/>
              </a:spcBef>
              <a:defRPr sz="1000"/>
            </a:lvl3pPr>
            <a:lvl4pPr>
              <a:spcBef>
                <a:spcPts val="400"/>
              </a:spcBef>
              <a:defRPr sz="900"/>
            </a:lvl4pPr>
            <a:lvl5pPr>
              <a:spcBef>
                <a:spcPts val="400"/>
              </a:spcBef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AFFF12EF-03A7-422E-93D1-32F00B40EE65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65138" y="2914958"/>
            <a:ext cx="3638551" cy="1458605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6213">
              <a:spcBef>
                <a:spcPts val="400"/>
              </a:spcBef>
              <a:buFont typeface="Wingdings" panose="05000000000000000000" pitchFamily="2" charset="2"/>
              <a:buChar char="§"/>
              <a:defRPr sz="1200"/>
            </a:lvl2pPr>
            <a:lvl3pPr marL="538163" indent="-180975">
              <a:spcBef>
                <a:spcPts val="400"/>
              </a:spcBef>
              <a:buFont typeface="Wingdings" panose="05000000000000000000" pitchFamily="2" charset="2"/>
              <a:buChar char="§"/>
              <a:defRPr sz="1000"/>
            </a:lvl3pPr>
            <a:lvl4pPr marL="720725" indent="-182563">
              <a:spcBef>
                <a:spcPts val="400"/>
              </a:spcBef>
              <a:buFont typeface="Wingdings" panose="05000000000000000000" pitchFamily="2" charset="2"/>
              <a:buChar char="§"/>
              <a:defRPr sz="900"/>
            </a:lvl4pPr>
            <a:lvl5pPr marL="895350" indent="-174625">
              <a:spcBef>
                <a:spcPts val="400"/>
              </a:spcBef>
              <a:buFont typeface="Wingdings" panose="05000000000000000000" pitchFamily="2" charset="2"/>
              <a:buChar char="§"/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572000" y="2914958"/>
            <a:ext cx="3636964" cy="145860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spcBef>
                <a:spcPts val="400"/>
              </a:spcBef>
              <a:defRPr sz="1200"/>
            </a:lvl2pPr>
            <a:lvl3pPr>
              <a:spcBef>
                <a:spcPts val="400"/>
              </a:spcBef>
              <a:defRPr sz="1000"/>
            </a:lvl3pPr>
            <a:lvl4pPr>
              <a:spcBef>
                <a:spcPts val="400"/>
              </a:spcBef>
              <a:defRPr sz="900"/>
            </a:lvl4pPr>
            <a:lvl5pPr>
              <a:spcBef>
                <a:spcPts val="400"/>
              </a:spcBef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7176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, blank colum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5138" y="304800"/>
            <a:ext cx="7743826" cy="792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23304AF-0FA6-4077-AD67-EA2A62705AEA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dirty="0" err="1"/>
              <a:t>Powerpoint</a:t>
            </a:r>
            <a:r>
              <a:rPr lang="en-GB" dirty="0"/>
              <a:t> template - slid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3" hasCustomPrompt="1"/>
          </p:nvPr>
        </p:nvSpPr>
        <p:spPr bwMode="gray">
          <a:xfrm>
            <a:off x="465138" y="1276350"/>
            <a:ext cx="3641725" cy="309721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72820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, blank colum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5138" y="304800"/>
            <a:ext cx="7743826" cy="792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0513E7-FB84-42AA-B40E-E8231A2F1A71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dirty="0" err="1"/>
              <a:t>Powerpoint</a:t>
            </a:r>
            <a:r>
              <a:rPr lang="en-GB" dirty="0"/>
              <a:t> template - slid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3" hasCustomPrompt="1"/>
          </p:nvPr>
        </p:nvSpPr>
        <p:spPr bwMode="gray">
          <a:xfrm>
            <a:off x="4567239" y="1276350"/>
            <a:ext cx="3641725" cy="309721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3106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138" y="1276352"/>
            <a:ext cx="3638551" cy="30972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F6F285AE-FFBE-4A3D-8D5A-9A4DA29FCB5A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0" y="1276352"/>
            <a:ext cx="3637728" cy="30972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4571999" y="4107833"/>
            <a:ext cx="3637729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874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with 2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465138" y="2914958"/>
            <a:ext cx="3638551" cy="145860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Picture Placeholder 14"/>
          <p:cNvSpPr>
            <a:spLocks noGrp="1"/>
          </p:cNvSpPr>
          <p:nvPr>
            <p:ph type="pic" sz="quarter" idx="23" hasCustomPrompt="1"/>
          </p:nvPr>
        </p:nvSpPr>
        <p:spPr>
          <a:xfrm>
            <a:off x="4569363" y="2914958"/>
            <a:ext cx="3639600" cy="1458607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138" y="1276352"/>
            <a:ext cx="3638551" cy="145860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F6F285AE-FFBE-4A3D-8D5A-9A4DA29FCB5A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569363" y="1276352"/>
            <a:ext cx="3639600" cy="1458607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4569364" y="4107833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4569364" y="2469229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9777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with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65138" y="1276352"/>
            <a:ext cx="3639600" cy="30972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465138" y="4107833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0" y="1276352"/>
            <a:ext cx="3638551" cy="30972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F6F285AE-FFBE-4A3D-8D5A-9A4DA29FCB5A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124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with 2x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4"/>
          <p:cNvSpPr>
            <a:spLocks noGrp="1"/>
          </p:cNvSpPr>
          <p:nvPr>
            <p:ph type="pic" sz="quarter" idx="23" hasCustomPrompt="1"/>
          </p:nvPr>
        </p:nvSpPr>
        <p:spPr>
          <a:xfrm>
            <a:off x="465138" y="2914958"/>
            <a:ext cx="3639600" cy="1458607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65138" y="1276352"/>
            <a:ext cx="3639600" cy="1458607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465139" y="4107833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465139" y="2469229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4570413" y="2914958"/>
            <a:ext cx="3638551" cy="145860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0413" y="1276352"/>
            <a:ext cx="3638551" cy="145860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F6F285AE-FFBE-4A3D-8D5A-9A4DA29FCB5A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58865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7E45CD69-B0D8-4EA9-AFDD-7B8EC29123B6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569363" y="1276352"/>
            <a:ext cx="3639600" cy="30972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4569364" y="4107833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22" hasCustomPrompt="1"/>
          </p:nvPr>
        </p:nvSpPr>
        <p:spPr>
          <a:xfrm>
            <a:off x="465138" y="1276352"/>
            <a:ext cx="3639600" cy="30972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65139" y="4107833"/>
            <a:ext cx="3639600" cy="265730"/>
          </a:xfrm>
          <a:solidFill>
            <a:schemeClr val="accent2">
              <a:alpha val="80000"/>
            </a:schemeClr>
          </a:solidFill>
        </p:spPr>
        <p:txBody>
          <a:bodyPr wrap="square" tIns="54000" bIns="72000" anchor="b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900"/>
            </a:lvl2pPr>
            <a:lvl3pPr marL="0" indent="0" algn="ctr">
              <a:buFontTx/>
              <a:buNone/>
              <a:defRPr sz="900"/>
            </a:lvl3pPr>
            <a:lvl4pPr marL="0" indent="0" algn="ctr">
              <a:buFontTx/>
              <a:buNone/>
              <a:defRPr sz="900"/>
            </a:lvl4pPr>
            <a:lvl5pPr marL="0" indent="0" algn="ctr">
              <a:buFontTx/>
              <a:buNone/>
              <a:defRPr sz="900"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37050" y="1276352"/>
            <a:ext cx="0" cy="3097211"/>
          </a:xfrm>
          <a:prstGeom prst="line">
            <a:avLst/>
          </a:prstGeom>
          <a:ln w="635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915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F0F0FC-0A21-42B3-9103-B1E4B4773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576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F0F0FC-0A21-42B3-9103-B1E4B4773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tx1">
              <a:lumMod val="25000"/>
              <a:lumOff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DE9FF39-80FD-4416-9A2F-97BC6EF297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8179" y="342473"/>
            <a:ext cx="7480800" cy="3607200"/>
          </a:xfrm>
          <a:blipFill>
            <a:blip r:embed="rId6"/>
            <a:stretch>
              <a:fillRect b="-1880"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5pPr marL="720725" indent="0">
              <a:buNone/>
              <a:defRPr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82765D5-BB5A-4110-A90E-0406B118941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466726" y="343551"/>
            <a:ext cx="7482253" cy="385048"/>
          </a:xfrm>
          <a:noFill/>
        </p:spPr>
        <p:txBody>
          <a:bodyPr lIns="0" rIns="0" anchor="t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B051466-C558-4EA8-9A37-86A27AFC0E22}" type="datetime4">
              <a:rPr lang="en-GB" smtClean="0"/>
              <a:pPr/>
              <a:t>29 May 2020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4813CF0B-EAB6-4FD8-8DD4-9F7EEEDCE1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46651" y="3949673"/>
            <a:ext cx="1202857" cy="1202857"/>
          </a:xfrm>
          <a:blipFill>
            <a:blip r:embed="rId7"/>
            <a:stretch>
              <a:fillRect/>
            </a:stretch>
          </a:blipFill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6726" y="728598"/>
            <a:ext cx="7482253" cy="36836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Master subtitle styl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6726" y="1096963"/>
            <a:ext cx="7482253" cy="2851200"/>
          </a:xfrm>
        </p:spPr>
        <p:txBody>
          <a:bodyPr>
            <a:normAutofit/>
          </a:bodyPr>
          <a:lstStyle>
            <a:lvl1pPr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575754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338638" cy="46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4FBAA35C-90CF-4858-A700-3B0DD44DF550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338638" y="0"/>
            <a:ext cx="4337049" cy="4680000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grpSp>
        <p:nvGrpSpPr>
          <p:cNvPr id="10" name="Group 4"/>
          <p:cNvGrpSpPr>
            <a:grpSpLocks noChangeAspect="1"/>
          </p:cNvGrpSpPr>
          <p:nvPr userDrawn="1"/>
        </p:nvGrpSpPr>
        <p:grpSpPr bwMode="white">
          <a:xfrm>
            <a:off x="465653" y="778102"/>
            <a:ext cx="459378" cy="318861"/>
            <a:chOff x="2886" y="641"/>
            <a:chExt cx="255" cy="177"/>
          </a:xfrm>
        </p:grpSpPr>
        <p:sp>
          <p:nvSpPr>
            <p:cNvPr id="11" name="AutoShape 3"/>
            <p:cNvSpPr>
              <a:spLocks noChangeAspect="1" noChangeArrowheads="1" noTextEdit="1"/>
            </p:cNvSpPr>
            <p:nvPr/>
          </p:nvSpPr>
          <p:spPr bwMode="white">
            <a:xfrm>
              <a:off x="2886" y="641"/>
              <a:ext cx="255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2" name="Freeform 5"/>
            <p:cNvSpPr>
              <a:spLocks noEditPoints="1"/>
            </p:cNvSpPr>
            <p:nvPr/>
          </p:nvSpPr>
          <p:spPr bwMode="white">
            <a:xfrm>
              <a:off x="2886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white">
            <a:xfrm>
              <a:off x="3034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465138" y="1282700"/>
            <a:ext cx="3640137" cy="309086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57188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2963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37049" y="0"/>
            <a:ext cx="4338638" cy="46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0F8A1C15-1FF3-4B09-9E1A-10C044BB22CF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7049" cy="4680000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grpSp>
        <p:nvGrpSpPr>
          <p:cNvPr id="13" name="Group 4"/>
          <p:cNvGrpSpPr>
            <a:grpSpLocks noChangeAspect="1"/>
          </p:cNvGrpSpPr>
          <p:nvPr userDrawn="1"/>
        </p:nvGrpSpPr>
        <p:grpSpPr bwMode="white">
          <a:xfrm>
            <a:off x="4572272" y="778102"/>
            <a:ext cx="459378" cy="318861"/>
            <a:chOff x="2886" y="641"/>
            <a:chExt cx="255" cy="177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/>
          </p:nvSpPr>
          <p:spPr bwMode="white">
            <a:xfrm>
              <a:off x="2886" y="641"/>
              <a:ext cx="255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5" name="Freeform 5"/>
            <p:cNvSpPr>
              <a:spLocks noEditPoints="1"/>
            </p:cNvSpPr>
            <p:nvPr/>
          </p:nvSpPr>
          <p:spPr bwMode="white">
            <a:xfrm>
              <a:off x="2886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white">
            <a:xfrm>
              <a:off x="3034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4572000" y="1282700"/>
            <a:ext cx="3638550" cy="309086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57188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9971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338638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4FBAA35C-90CF-4858-A700-3B0DD44DF550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337050" y="-50"/>
            <a:ext cx="4337049" cy="4680000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grpSp>
        <p:nvGrpSpPr>
          <p:cNvPr id="10" name="Group 4"/>
          <p:cNvGrpSpPr>
            <a:grpSpLocks noChangeAspect="1"/>
          </p:cNvGrpSpPr>
          <p:nvPr userDrawn="1"/>
        </p:nvGrpSpPr>
        <p:grpSpPr bwMode="white">
          <a:xfrm>
            <a:off x="465653" y="778102"/>
            <a:ext cx="459378" cy="318861"/>
            <a:chOff x="2886" y="641"/>
            <a:chExt cx="255" cy="177"/>
          </a:xfrm>
        </p:grpSpPr>
        <p:sp>
          <p:nvSpPr>
            <p:cNvPr id="11" name="AutoShape 3"/>
            <p:cNvSpPr>
              <a:spLocks noChangeAspect="1" noChangeArrowheads="1" noTextEdit="1"/>
            </p:cNvSpPr>
            <p:nvPr/>
          </p:nvSpPr>
          <p:spPr bwMode="white">
            <a:xfrm>
              <a:off x="2886" y="641"/>
              <a:ext cx="255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2" name="Freeform 5"/>
            <p:cNvSpPr>
              <a:spLocks noEditPoints="1"/>
            </p:cNvSpPr>
            <p:nvPr/>
          </p:nvSpPr>
          <p:spPr bwMode="white">
            <a:xfrm>
              <a:off x="2886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white">
            <a:xfrm>
              <a:off x="3034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465138" y="1282700"/>
            <a:ext cx="3640137" cy="309086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57188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502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dark blue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37049" y="0"/>
            <a:ext cx="4338638" cy="46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0F8A1C15-1FF3-4B09-9E1A-10C044BB22CF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7049" cy="4680000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grpSp>
        <p:nvGrpSpPr>
          <p:cNvPr id="13" name="Group 4"/>
          <p:cNvGrpSpPr>
            <a:grpSpLocks noChangeAspect="1"/>
          </p:cNvGrpSpPr>
          <p:nvPr userDrawn="1"/>
        </p:nvGrpSpPr>
        <p:grpSpPr bwMode="white">
          <a:xfrm>
            <a:off x="4572272" y="778102"/>
            <a:ext cx="459378" cy="318861"/>
            <a:chOff x="2886" y="641"/>
            <a:chExt cx="255" cy="177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/>
          </p:nvSpPr>
          <p:spPr bwMode="white">
            <a:xfrm>
              <a:off x="2886" y="641"/>
              <a:ext cx="255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5" name="Freeform 5"/>
            <p:cNvSpPr>
              <a:spLocks noEditPoints="1"/>
            </p:cNvSpPr>
            <p:nvPr/>
          </p:nvSpPr>
          <p:spPr bwMode="white">
            <a:xfrm>
              <a:off x="2886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white">
            <a:xfrm>
              <a:off x="3034" y="643"/>
              <a:ext cx="109" cy="175"/>
            </a:xfrm>
            <a:custGeom>
              <a:avLst/>
              <a:gdLst>
                <a:gd name="T0" fmla="*/ 95 w 109"/>
                <a:gd name="T1" fmla="*/ 13 h 175"/>
                <a:gd name="T2" fmla="*/ 87 w 109"/>
                <a:gd name="T3" fmla="*/ 0 h 175"/>
                <a:gd name="T4" fmla="*/ 0 w 109"/>
                <a:gd name="T5" fmla="*/ 64 h 175"/>
                <a:gd name="T6" fmla="*/ 0 w 109"/>
                <a:gd name="T7" fmla="*/ 175 h 175"/>
                <a:gd name="T8" fmla="*/ 109 w 109"/>
                <a:gd name="T9" fmla="*/ 175 h 175"/>
                <a:gd name="T10" fmla="*/ 109 w 109"/>
                <a:gd name="T11" fmla="*/ 64 h 175"/>
                <a:gd name="T12" fmla="*/ 24 w 109"/>
                <a:gd name="T13" fmla="*/ 64 h 175"/>
                <a:gd name="T14" fmla="*/ 95 w 109"/>
                <a:gd name="T15" fmla="*/ 13 h 175"/>
                <a:gd name="T16" fmla="*/ 95 w 109"/>
                <a:gd name="T17" fmla="*/ 160 h 175"/>
                <a:gd name="T18" fmla="*/ 15 w 109"/>
                <a:gd name="T19" fmla="*/ 160 h 175"/>
                <a:gd name="T20" fmla="*/ 15 w 109"/>
                <a:gd name="T21" fmla="*/ 79 h 175"/>
                <a:gd name="T22" fmla="*/ 95 w 109"/>
                <a:gd name="T23" fmla="*/ 79 h 175"/>
                <a:gd name="T24" fmla="*/ 95 w 109"/>
                <a:gd name="T25" fmla="*/ 16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75">
                  <a:moveTo>
                    <a:pt x="95" y="13"/>
                  </a:moveTo>
                  <a:lnTo>
                    <a:pt x="87" y="0"/>
                  </a:lnTo>
                  <a:lnTo>
                    <a:pt x="0" y="64"/>
                  </a:lnTo>
                  <a:lnTo>
                    <a:pt x="0" y="175"/>
                  </a:lnTo>
                  <a:lnTo>
                    <a:pt x="109" y="175"/>
                  </a:lnTo>
                  <a:lnTo>
                    <a:pt x="109" y="64"/>
                  </a:lnTo>
                  <a:lnTo>
                    <a:pt x="24" y="64"/>
                  </a:lnTo>
                  <a:lnTo>
                    <a:pt x="95" y="13"/>
                  </a:lnTo>
                  <a:close/>
                  <a:moveTo>
                    <a:pt x="95" y="160"/>
                  </a:moveTo>
                  <a:lnTo>
                    <a:pt x="15" y="160"/>
                  </a:lnTo>
                  <a:lnTo>
                    <a:pt x="15" y="79"/>
                  </a:lnTo>
                  <a:lnTo>
                    <a:pt x="95" y="79"/>
                  </a:lnTo>
                  <a:lnTo>
                    <a:pt x="95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4572000" y="1282700"/>
            <a:ext cx="3638550" cy="3090863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57188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66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, 2x icon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4400" y="306000"/>
            <a:ext cx="5103813" cy="7909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64400" y="1276352"/>
            <a:ext cx="5103813" cy="3097212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1pPr>
            <a:lvl2pPr marL="360000" marR="0" indent="-16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2pPr>
            <a:lvl3pPr marL="540000" marR="0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720000" marR="0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4pPr>
            <a:lvl5pPr marL="864000" marR="0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03FCCF-1BB5-44D1-A460-34F4BD177C5D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dirty="0" err="1"/>
              <a:t>Powerpoint</a:t>
            </a:r>
            <a:r>
              <a:rPr lang="en-GB" dirty="0"/>
              <a:t> template - slid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8615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, 2x icon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106738" y="304800"/>
            <a:ext cx="5102227" cy="79216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106738" y="1276352"/>
            <a:ext cx="5102227" cy="3097212"/>
          </a:xfrm>
        </p:spPr>
        <p:txBody>
          <a:bodyPr/>
          <a:lstStyle>
            <a:lvl1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1pPr>
            <a:lvl2pPr marL="360000" marR="0" indent="-16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2pPr>
            <a:lvl3pPr marL="540000" marR="0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720000" marR="0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4pPr>
            <a:lvl5pPr marL="864000" marR="0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5pPr>
          </a:lstStyle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360000" marR="0" lvl="1" indent="-16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540000" marR="0" lvl="2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720000" marR="0" lvl="3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864000" marR="0" lvl="4" indent="-144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A074175-19CF-4416-90BD-1A9234B2FDF2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dirty="0" err="1"/>
              <a:t>Powerpoint</a:t>
            </a:r>
            <a:r>
              <a:rPr lang="en-GB" dirty="0"/>
              <a:t> template - slid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87274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, 2x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8675687" cy="46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3106738" y="304800"/>
            <a:ext cx="5102226" cy="79216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white">
          <a:xfrm>
            <a:off x="3106738" y="1276351"/>
            <a:ext cx="5102226" cy="3097212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05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11BE11FE-F3C7-4272-BB6A-9221D900D4FF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2891897" cy="23416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0" y="2338388"/>
            <a:ext cx="2891897" cy="23416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337077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, 2x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8675687" cy="46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464400" y="304800"/>
            <a:ext cx="5101022" cy="79216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white">
          <a:xfrm>
            <a:off x="464400" y="1276351"/>
            <a:ext cx="5101022" cy="3097212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/>
          <a:p>
            <a:fld id="{4DE9A86C-5532-46A1-80C5-63F0A6850D78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4" hasCustomPrompt="1"/>
          </p:nvPr>
        </p:nvSpPr>
        <p:spPr>
          <a:xfrm>
            <a:off x="5783790" y="0"/>
            <a:ext cx="2891897" cy="23416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5783790" y="2338388"/>
            <a:ext cx="2891897" cy="2341612"/>
          </a:xfrm>
          <a:solidFill>
            <a:schemeClr val="bg1">
              <a:lumMod val="8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15135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b="1" dirty="0">
              <a:solidFill>
                <a:schemeClr val="bg1"/>
              </a:solidFill>
            </a:endParaRPr>
          </a:p>
        </p:txBody>
      </p:sp>
      <p:pic>
        <p:nvPicPr>
          <p:cNvPr id="7" name="light beam gradient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1" b="9208"/>
          <a:stretch/>
        </p:blipFill>
        <p:spPr>
          <a:xfrm>
            <a:off x="4338639" y="2339975"/>
            <a:ext cx="4337051" cy="2339975"/>
          </a:xfrm>
          <a:prstGeom prst="rect">
            <a:avLst/>
          </a:prstGeom>
          <a:noFill/>
        </p:spPr>
      </p:pic>
      <p:pic>
        <p:nvPicPr>
          <p:cNvPr id="8" name="logo, white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337" y="4757739"/>
            <a:ext cx="818850" cy="2937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white"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5B7D66-D244-4BF8-A54A-A80AD161F84E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white"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white"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isclaimer"/>
          <p:cNvSpPr>
            <a:spLocks noGrp="1" noRot="1" noMove="1" noResize="1" noEditPoints="1" noAdjustHandles="1" noChangeArrowheads="1" noChangeShapeType="1" noTextEdit="1"/>
          </p:cNvSpPr>
          <p:nvPr userDrawn="1">
            <p:custDataLst>
              <p:tags r:id="rId1"/>
            </p:custDataLst>
          </p:nvPr>
        </p:nvSpPr>
        <p:spPr>
          <a:xfrm>
            <a:off x="4805133" y="4880561"/>
            <a:ext cx="2755394" cy="615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400" dirty="0">
                <a:solidFill>
                  <a:srgbClr val="405F7F"/>
                </a:solidFill>
              </a:rPr>
              <a:t> The information contained or referenced in this presentation is proprietary to FLSmidth and is protected by copyright law</a:t>
            </a:r>
          </a:p>
        </p:txBody>
      </p:sp>
    </p:spTree>
    <p:extLst>
      <p:ext uri="{BB962C8B-B14F-4D97-AF65-F5344CB8AC3E}">
        <p14:creationId xmlns:p14="http://schemas.microsoft.com/office/powerpoint/2010/main" val="25008344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C83B4-E2C6-41FC-8249-38DA0431A041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800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F41B6A-EC46-45BA-AEEC-A27112EF7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330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BF41B6A-EC46-45BA-AEEC-A27112EF7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, steel blue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F6A3F58-E196-4331-B0E7-66A8586C5F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8179" y="342473"/>
            <a:ext cx="7480800" cy="3607200"/>
          </a:xfrm>
          <a:blipFill>
            <a:blip r:embed="rId6"/>
            <a:stretch>
              <a:fillRect b="-1880"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5pPr marL="720725" indent="0">
              <a:buNone/>
              <a:defRPr/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BFE926EC-C55D-4BBA-9BB0-37B704CCA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466726" y="343551"/>
            <a:ext cx="7482253" cy="385048"/>
          </a:xfrm>
          <a:noFill/>
        </p:spPr>
        <p:txBody>
          <a:bodyPr lIns="0" rIns="0" anchor="t" anchorCtr="0">
            <a:no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EB051466-C558-4EA8-9A37-86A27AFC0E22}" type="datetime4">
              <a:rPr lang="en-GB" smtClean="0"/>
              <a:pPr/>
              <a:t>29 May 2020</a:t>
            </a:fld>
            <a:endParaRPr lang="en-GB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77A33F39-1A96-4C82-84D5-DE411D8C78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46651" y="3949673"/>
            <a:ext cx="1202857" cy="1202857"/>
          </a:xfrm>
          <a:blipFill>
            <a:blip r:embed="rId7"/>
            <a:stretch>
              <a:fillRect/>
            </a:stretch>
          </a:blipFill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66723" y="728598"/>
            <a:ext cx="7482256" cy="36836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Master subtitle styl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466723" y="1096963"/>
            <a:ext cx="7482256" cy="2851200"/>
          </a:xfrm>
        </p:spPr>
        <p:txBody>
          <a:bodyPr>
            <a:normAutofit/>
          </a:bodyPr>
          <a:lstStyle>
            <a:lvl1pPr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732906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4E089-0AEE-40C8-B95F-983EC8BBB101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3033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logo, white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337" y="4757739"/>
            <a:ext cx="818850" cy="293717"/>
          </a:xfrm>
          <a:prstGeom prst="rect">
            <a:avLst/>
          </a:prstGeom>
        </p:spPr>
      </p:pic>
      <p:pic>
        <p:nvPicPr>
          <p:cNvPr id="7" name="light beam gradient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1" b="9208"/>
          <a:stretch/>
        </p:blipFill>
        <p:spPr>
          <a:xfrm>
            <a:off x="1" y="1"/>
            <a:ext cx="8675689" cy="467677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2A0841-141E-46BD-AB63-C80784AB04DF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466725" y="301269"/>
            <a:ext cx="7740652" cy="7956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Breaker slide</a:t>
            </a:r>
          </a:p>
        </p:txBody>
      </p:sp>
      <p:sp>
        <p:nvSpPr>
          <p:cNvPr id="10" name="Disclaimer"/>
          <p:cNvSpPr>
            <a:spLocks noGrp="1" noRot="1" noMove="1" noResize="1" noEditPoints="1" noAdjustHandles="1" noChangeArrowheads="1" noChangeShapeType="1" noTextEdit="1"/>
          </p:cNvSpPr>
          <p:nvPr userDrawn="1">
            <p:custDataLst>
              <p:tags r:id="rId1"/>
            </p:custDataLst>
          </p:nvPr>
        </p:nvSpPr>
        <p:spPr>
          <a:xfrm>
            <a:off x="4805133" y="4880561"/>
            <a:ext cx="2755394" cy="615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400" dirty="0">
                <a:solidFill>
                  <a:srgbClr val="405F7F"/>
                </a:solidFill>
              </a:rPr>
              <a:t> The information contained or referenced in this presentation is proprietary to FLSmidth and is protected by copyright law</a:t>
            </a:r>
          </a:p>
        </p:txBody>
      </p:sp>
    </p:spTree>
    <p:extLst>
      <p:ext uri="{BB962C8B-B14F-4D97-AF65-F5344CB8AC3E}">
        <p14:creationId xmlns:p14="http://schemas.microsoft.com/office/powerpoint/2010/main" val="2335172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b="1" dirty="0">
              <a:solidFill>
                <a:schemeClr val="bg1"/>
              </a:solidFill>
            </a:endParaRPr>
          </a:p>
        </p:txBody>
      </p:sp>
      <p:pic>
        <p:nvPicPr>
          <p:cNvPr id="8" name="logo, white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337" y="4757739"/>
            <a:ext cx="818850" cy="293717"/>
          </a:xfrm>
          <a:prstGeom prst="rect">
            <a:avLst/>
          </a:prstGeom>
        </p:spPr>
      </p:pic>
      <p:pic>
        <p:nvPicPr>
          <p:cNvPr id="7" name="light beam gradient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1" b="9208"/>
          <a:stretch/>
        </p:blipFill>
        <p:spPr>
          <a:xfrm>
            <a:off x="1" y="1"/>
            <a:ext cx="8675689" cy="467677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white"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2A0841-141E-46BD-AB63-C80784AB04DF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white"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white"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466725" y="301269"/>
            <a:ext cx="7740652" cy="79569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Breaker slide</a:t>
            </a:r>
          </a:p>
        </p:txBody>
      </p:sp>
      <p:sp>
        <p:nvSpPr>
          <p:cNvPr id="10" name="Disclaimer"/>
          <p:cNvSpPr>
            <a:spLocks noGrp="1" noRot="1" noMove="1" noResize="1" noEditPoints="1" noAdjustHandles="1" noChangeArrowheads="1" noChangeShapeType="1" noTextEdit="1"/>
          </p:cNvSpPr>
          <p:nvPr userDrawn="1">
            <p:custDataLst>
              <p:tags r:id="rId1"/>
            </p:custDataLst>
          </p:nvPr>
        </p:nvSpPr>
        <p:spPr>
          <a:xfrm>
            <a:off x="4805133" y="4880561"/>
            <a:ext cx="2755394" cy="615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400" dirty="0">
                <a:solidFill>
                  <a:srgbClr val="405F7F"/>
                </a:solidFill>
              </a:rPr>
              <a:t> The information contained or referenced in this presentation is proprietary to FLSmidth and is protected by copyright law</a:t>
            </a:r>
          </a:p>
        </p:txBody>
      </p:sp>
    </p:spTree>
    <p:extLst>
      <p:ext uri="{BB962C8B-B14F-4D97-AF65-F5344CB8AC3E}">
        <p14:creationId xmlns:p14="http://schemas.microsoft.com/office/powerpoint/2010/main" val="398774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8675689" cy="4680000"/>
          </a:xfrm>
          <a:solidFill>
            <a:schemeClr val="tx1">
              <a:lumMod val="25000"/>
              <a:lumOff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B004EB-8160-41A5-9AF7-3FFB671E4597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466725" y="301269"/>
            <a:ext cx="7740652" cy="7956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Breaker slide</a:t>
            </a:r>
          </a:p>
        </p:txBody>
      </p:sp>
    </p:spTree>
    <p:extLst>
      <p:ext uri="{BB962C8B-B14F-4D97-AF65-F5344CB8AC3E}">
        <p14:creationId xmlns:p14="http://schemas.microsoft.com/office/powerpoint/2010/main" val="22020398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mage, big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8675689" cy="4680000"/>
          </a:xfrm>
          <a:solidFill>
            <a:schemeClr val="tx1">
              <a:lumMod val="25000"/>
              <a:lumOff val="7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B004EB-8160-41A5-9AF7-3FFB671E4597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466725" y="301269"/>
            <a:ext cx="7740652" cy="4072294"/>
          </a:xfrm>
        </p:spPr>
        <p:txBody>
          <a:bodyPr anchor="ctr">
            <a:noAutofit/>
          </a:bodyPr>
          <a:lstStyle>
            <a:lvl1pPr algn="ctr">
              <a:defRPr sz="4000" b="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Big heading</a:t>
            </a:r>
            <a:br>
              <a:rPr lang="en-GB" noProof="0" dirty="0"/>
            </a:br>
            <a:r>
              <a:rPr lang="en-GB" noProof="0" dirty="0"/>
              <a:t>in two or </a:t>
            </a:r>
            <a:br>
              <a:rPr lang="en-GB" noProof="0" dirty="0"/>
            </a:br>
            <a:r>
              <a:rPr lang="en-GB" noProof="0" dirty="0"/>
              <a:t>more lines</a:t>
            </a:r>
          </a:p>
        </p:txBody>
      </p:sp>
    </p:spTree>
    <p:extLst>
      <p:ext uri="{BB962C8B-B14F-4D97-AF65-F5344CB8AC3E}">
        <p14:creationId xmlns:p14="http://schemas.microsoft.com/office/powerpoint/2010/main" val="569594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8675689" cy="4680000"/>
          </a:xfrm>
          <a:solidFill>
            <a:schemeClr val="tx1">
              <a:lumMod val="25000"/>
              <a:lumOff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B004EB-8160-41A5-9AF7-3FFB671E4597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New PowerPoint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306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</p:spPr>
        <p:txBody>
          <a:bodyPr/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138" y="1276351"/>
            <a:ext cx="7742238" cy="3097213"/>
          </a:xfrm>
        </p:spPr>
        <p:txBody>
          <a:bodyPr/>
          <a:lstStyle>
            <a:lvl2pPr>
              <a:spcBef>
                <a:spcPts val="400"/>
              </a:spcBef>
              <a:defRPr/>
            </a:lvl2pPr>
            <a:lvl3pPr>
              <a:spcBef>
                <a:spcPts val="400"/>
              </a:spcBef>
              <a:defRPr sz="1000"/>
            </a:lvl3pPr>
            <a:lvl4pPr>
              <a:spcBef>
                <a:spcPts val="400"/>
              </a:spcBef>
              <a:defRPr sz="900"/>
            </a:lvl4pPr>
            <a:lvl5pPr>
              <a:spcBef>
                <a:spcPts val="400"/>
              </a:spcBef>
              <a:defRPr sz="80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DC75C-D9F4-410D-AF45-DF89909A8D56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New PowerPoint Templ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427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67081B4-3227-43F4-A33B-C0D8F1CB7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305431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5" imgW="344" imgH="345" progId="TCLayout.ActiveDocument.1">
                  <p:embed/>
                </p:oleObj>
              </mc:Choice>
              <mc:Fallback>
                <p:oleObj name="think-cell Slide" r:id="rId35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67081B4-3227-43F4-A33B-C0D8F1CB7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ltGray">
          <a:xfrm>
            <a:off x="0" y="-1"/>
            <a:ext cx="8675687" cy="46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8" y="304800"/>
            <a:ext cx="7743826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5138" y="1276351"/>
            <a:ext cx="7742238" cy="3097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3083" y="4850323"/>
            <a:ext cx="969510" cy="10772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029F2808-995E-4163-B5F6-24EA2B6DBF06}" type="datetime4">
              <a:rPr lang="en-GB" smtClean="0"/>
              <a:t>29 May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72593" y="4850324"/>
            <a:ext cx="2766046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/>
              <a:t>New PowerPoint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725" y="4850325"/>
            <a:ext cx="136357" cy="10772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1C8EED2D-A8C6-40D5-9733-A867150172B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logo, blue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339" y="4757739"/>
            <a:ext cx="818846" cy="293717"/>
          </a:xfrm>
          <a:prstGeom prst="rect">
            <a:avLst/>
          </a:prstGeom>
        </p:spPr>
      </p:pic>
      <p:sp>
        <p:nvSpPr>
          <p:cNvPr id="13" name="Disclaimer"/>
          <p:cNvSpPr>
            <a:spLocks noGrp="1" noRot="1" noMove="1" noResize="1" noEditPoints="1" noAdjustHandles="1" noChangeArrowheads="1" noChangeShapeType="1" noTextEdit="1"/>
          </p:cNvSpPr>
          <p:nvPr userDrawn="1">
            <p:custDataLst>
              <p:tags r:id="rId34"/>
            </p:custDataLst>
          </p:nvPr>
        </p:nvSpPr>
        <p:spPr>
          <a:xfrm>
            <a:off x="4805133" y="4880561"/>
            <a:ext cx="2755394" cy="615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400" dirty="0">
                <a:solidFill>
                  <a:schemeClr val="accent6"/>
                </a:solidFill>
              </a:rPr>
              <a:t> The information contained or referenced in this presentation is proprietary to FLSmidth and is protected by copyright law</a:t>
            </a:r>
          </a:p>
        </p:txBody>
      </p:sp>
    </p:spTree>
    <p:extLst>
      <p:ext uri="{BB962C8B-B14F-4D97-AF65-F5344CB8AC3E}">
        <p14:creationId xmlns:p14="http://schemas.microsoft.com/office/powerpoint/2010/main" val="727476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6" r:id="rId2"/>
    <p:sldLayoutId id="2147483657" r:id="rId3"/>
    <p:sldLayoutId id="2147483668" r:id="rId4"/>
    <p:sldLayoutId id="2147483715" r:id="rId5"/>
    <p:sldLayoutId id="2147483658" r:id="rId6"/>
    <p:sldLayoutId id="2147483720" r:id="rId7"/>
    <p:sldLayoutId id="2147483721" r:id="rId8"/>
    <p:sldLayoutId id="2147483650" r:id="rId9"/>
    <p:sldLayoutId id="2147483652" r:id="rId10"/>
    <p:sldLayoutId id="2147483739" r:id="rId11"/>
    <p:sldLayoutId id="2147483719" r:id="rId12"/>
    <p:sldLayoutId id="2147483735" r:id="rId13"/>
    <p:sldLayoutId id="2147483736" r:id="rId14"/>
    <p:sldLayoutId id="2147483696" r:id="rId15"/>
    <p:sldLayoutId id="2147483718" r:id="rId16"/>
    <p:sldLayoutId id="2147483724" r:id="rId17"/>
    <p:sldLayoutId id="2147483725" r:id="rId18"/>
    <p:sldLayoutId id="2147483703" r:id="rId19"/>
    <p:sldLayoutId id="2147483692" r:id="rId20"/>
    <p:sldLayoutId id="2147483678" r:id="rId21"/>
    <p:sldLayoutId id="2147483722" r:id="rId22"/>
    <p:sldLayoutId id="2147483723" r:id="rId23"/>
    <p:sldLayoutId id="2147483737" r:id="rId24"/>
    <p:sldLayoutId id="2147483738" r:id="rId25"/>
    <p:sldLayoutId id="2147483693" r:id="rId26"/>
    <p:sldLayoutId id="2147483698" r:id="rId27"/>
    <p:sldLayoutId id="2147483704" r:id="rId28"/>
    <p:sldLayoutId id="2147483654" r:id="rId29"/>
    <p:sldLayoutId id="2147483655" r:id="rId30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6213" algn="l" defTabSz="914400" rtl="0" eaLnBrk="1" latinLnBrk="0" hangingPunct="1">
        <a:spcBef>
          <a:spcPts val="40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0975" algn="l" defTabSz="914400" rtl="0" eaLnBrk="1" latinLnBrk="0" hangingPunct="1">
        <a:spcBef>
          <a:spcPts val="400"/>
        </a:spcBef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2563" algn="l" defTabSz="914400" rtl="0" eaLnBrk="1" latinLnBrk="0" hangingPunct="1">
        <a:spcBef>
          <a:spcPts val="400"/>
        </a:spcBef>
        <a:buFont typeface="Wingdings" panose="05000000000000000000" pitchFamily="2" charset="2"/>
        <a:buChar char="§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4625" algn="l" defTabSz="914400" rtl="0" eaLnBrk="1" latinLnBrk="0" hangingPunct="1">
        <a:spcBef>
          <a:spcPts val="400"/>
        </a:spcBef>
        <a:buFont typeface="Wingdings" panose="05000000000000000000" pitchFamily="2" charset="2"/>
        <a:buChar char="§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itservicedesk/" TargetMode="External"/><Relationship Id="rId5" Type="http://schemas.openxmlformats.org/officeDocument/2006/relationships/hyperlink" Target="http://clara-gbschatbot/" TargetMode="Externa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.wmf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2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flsmidth.com/youtube" TargetMode="External"/><Relationship Id="rId7" Type="http://schemas.openxmlformats.org/officeDocument/2006/relationships/hyperlink" Target="http://flsmidth.com/linkedin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flsmidth.com/twitter" TargetMode="External"/><Relationship Id="rId5" Type="http://schemas.openxmlformats.org/officeDocument/2006/relationships/hyperlink" Target="http://flsmidth.com/facebook" TargetMode="External"/><Relationship Id="rId4" Type="http://schemas.openxmlformats.org/officeDocument/2006/relationships/hyperlink" Target="http://flsmidth.com/instagra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billede 1">
            <a:extLst/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blipFill>
            <a:blip r:embed="rId3"/>
            <a:stretch>
              <a:fillRect/>
            </a:stretch>
          </a:blipFill>
        </p:spPr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475B3B9-8E63-4ACE-88C1-E38322E70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51466-C558-4EA8-9A37-86A27AFC0E22}" type="datetime4">
              <a:rPr lang="en-GB" smtClean="0"/>
              <a:pPr/>
              <a:t>29 May 2020</a:t>
            </a:fld>
            <a:endParaRPr lang="en-GB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FD9B6F2-676D-4287-9E4C-3A9F4B0945FE}"/>
              </a:ext>
            </a:extLst>
          </p:cNvPr>
          <p:cNvSpPr/>
          <p:nvPr/>
        </p:nvSpPr>
        <p:spPr>
          <a:xfrm>
            <a:off x="0" y="9074"/>
            <a:ext cx="9144000" cy="8139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837CDCA-5C8C-43A0-A23F-5C6F8C339D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2" y="87159"/>
            <a:ext cx="694242" cy="64851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EDBEC9D-10D9-4818-8F6A-5724F966CFC1}"/>
              </a:ext>
            </a:extLst>
          </p:cNvPr>
          <p:cNvSpPr txBox="1"/>
          <p:nvPr/>
        </p:nvSpPr>
        <p:spPr>
          <a:xfrm>
            <a:off x="773126" y="284295"/>
            <a:ext cx="2383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lara GBS Chatbo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455248-0018-4AC8-81D3-9C831EBBBF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1230" y="182880"/>
            <a:ext cx="1715375" cy="46180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CE50FAA-E26F-4B18-B30A-16F565643864}"/>
              </a:ext>
            </a:extLst>
          </p:cNvPr>
          <p:cNvSpPr txBox="1"/>
          <p:nvPr/>
        </p:nvSpPr>
        <p:spPr>
          <a:xfrm>
            <a:off x="5007359" y="284295"/>
            <a:ext cx="25063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defRPr>
            </a:lvl1pPr>
          </a:lstStyle>
          <a:p>
            <a:r>
              <a:rPr lang="en-GB" dirty="0"/>
              <a:t>IT Self Service Port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DB9C7E-23B2-4AC9-B151-F5ECF343F7EF}"/>
              </a:ext>
            </a:extLst>
          </p:cNvPr>
          <p:cNvSpPr txBox="1"/>
          <p:nvPr/>
        </p:nvSpPr>
        <p:spPr>
          <a:xfrm>
            <a:off x="406602" y="1670400"/>
            <a:ext cx="844219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Clara and IT Self Service Portal</a:t>
            </a:r>
          </a:p>
        </p:txBody>
      </p:sp>
    </p:spTree>
    <p:extLst>
      <p:ext uri="{BB962C8B-B14F-4D97-AF65-F5344CB8AC3E}">
        <p14:creationId xmlns:p14="http://schemas.microsoft.com/office/powerpoint/2010/main" val="3315794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69C857-8CE6-4C9A-9121-6AE61DE42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DC75C-D9F4-410D-AF45-DF89909A8D56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DD3035B-58F1-448E-A82E-36F6E3422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C053AAB-CA6B-4756-8B3E-4FA5F0CEE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2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A6BF52-CACB-4E88-9D07-FD77C9C67555}"/>
              </a:ext>
            </a:extLst>
          </p:cNvPr>
          <p:cNvSpPr/>
          <p:nvPr/>
        </p:nvSpPr>
        <p:spPr>
          <a:xfrm>
            <a:off x="0" y="9074"/>
            <a:ext cx="8656320" cy="8139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3EE667-4880-46D6-A772-5C1FA6CA65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02" y="87159"/>
            <a:ext cx="657216" cy="64851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1E58D3-611C-4E20-A07D-77634B3DF978}"/>
              </a:ext>
            </a:extLst>
          </p:cNvPr>
          <p:cNvSpPr txBox="1"/>
          <p:nvPr/>
        </p:nvSpPr>
        <p:spPr>
          <a:xfrm>
            <a:off x="888950" y="284295"/>
            <a:ext cx="2256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lara GBS Chatbo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DA733F-6F86-4C33-9BEF-57A963644D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6223" y="182880"/>
            <a:ext cx="1623888" cy="4618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CF73C1-111E-455F-8943-089E17EDD5AA}"/>
              </a:ext>
            </a:extLst>
          </p:cNvPr>
          <p:cNvSpPr txBox="1"/>
          <p:nvPr/>
        </p:nvSpPr>
        <p:spPr>
          <a:xfrm>
            <a:off x="4586735" y="284295"/>
            <a:ext cx="2372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defRPr>
            </a:lvl1pPr>
          </a:lstStyle>
          <a:p>
            <a:r>
              <a:rPr lang="en-GB" dirty="0"/>
              <a:t>IT Self Service Porta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3480229-2DA2-4051-80D7-8946544F7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66" y="1005840"/>
            <a:ext cx="7743826" cy="597408"/>
          </a:xfrm>
        </p:spPr>
        <p:txBody>
          <a:bodyPr/>
          <a:lstStyle/>
          <a:p>
            <a:r>
              <a:rPr lang="en-GB" dirty="0"/>
              <a:t>About 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3AC6D90-55FC-48B8-BB6A-1706425B3B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434" y="1453135"/>
            <a:ext cx="8246046" cy="3097213"/>
          </a:xfrm>
        </p:spPr>
        <p:txBody>
          <a:bodyPr/>
          <a:lstStyle/>
          <a:p>
            <a:r>
              <a:rPr lang="en-GB" sz="1800" dirty="0"/>
              <a:t>Clara is our own chatbot trained to register all your IT related queries/issues to ITServicedesk available round the clock</a:t>
            </a:r>
          </a:p>
          <a:p>
            <a:endParaRPr lang="en-GB" sz="1800" dirty="0"/>
          </a:p>
          <a:p>
            <a:r>
              <a:rPr lang="en-GB" sz="1800" dirty="0"/>
              <a:t>IT Self Service Portal is a portal equipped with all the IT related request and issue forms</a:t>
            </a:r>
          </a:p>
        </p:txBody>
      </p:sp>
    </p:spTree>
    <p:extLst>
      <p:ext uri="{BB962C8B-B14F-4D97-AF65-F5344CB8AC3E}">
        <p14:creationId xmlns:p14="http://schemas.microsoft.com/office/powerpoint/2010/main" val="3046093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69C857-8CE6-4C9A-9121-6AE61DE42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DC75C-D9F4-410D-AF45-DF89909A8D56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DD3035B-58F1-448E-A82E-36F6E3422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lara and IT Self Service Porta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C053AAB-CA6B-4756-8B3E-4FA5F0CEE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3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A6BF52-CACB-4E88-9D07-FD77C9C67555}"/>
              </a:ext>
            </a:extLst>
          </p:cNvPr>
          <p:cNvSpPr/>
          <p:nvPr/>
        </p:nvSpPr>
        <p:spPr>
          <a:xfrm>
            <a:off x="0" y="9074"/>
            <a:ext cx="8656320" cy="8139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3EE667-4880-46D6-A772-5C1FA6CA65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02" y="87159"/>
            <a:ext cx="657216" cy="64851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1E58D3-611C-4E20-A07D-77634B3DF978}"/>
              </a:ext>
            </a:extLst>
          </p:cNvPr>
          <p:cNvSpPr txBox="1"/>
          <p:nvPr/>
        </p:nvSpPr>
        <p:spPr>
          <a:xfrm>
            <a:off x="888950" y="284295"/>
            <a:ext cx="2256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lara GBS Chatbo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DA733F-6F86-4C33-9BEF-57A963644D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6223" y="182880"/>
            <a:ext cx="1623888" cy="4618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CF73C1-111E-455F-8943-089E17EDD5AA}"/>
              </a:ext>
            </a:extLst>
          </p:cNvPr>
          <p:cNvSpPr txBox="1"/>
          <p:nvPr/>
        </p:nvSpPr>
        <p:spPr>
          <a:xfrm>
            <a:off x="4586735" y="284295"/>
            <a:ext cx="2372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defRPr>
            </a:lvl1pPr>
          </a:lstStyle>
          <a:p>
            <a:r>
              <a:rPr lang="en-GB" dirty="0"/>
              <a:t>IT Self Service Porta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3480229-2DA2-4051-80D7-8946544F7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66" y="1005840"/>
            <a:ext cx="7743826" cy="597408"/>
          </a:xfrm>
        </p:spPr>
        <p:txBody>
          <a:bodyPr/>
          <a:lstStyle/>
          <a:p>
            <a:r>
              <a:rPr lang="en-GB" dirty="0"/>
              <a:t>How to Acces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3AC6D90-55FC-48B8-BB6A-1706425B3B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434" y="1611631"/>
            <a:ext cx="8246046" cy="3097213"/>
          </a:xfrm>
        </p:spPr>
        <p:txBody>
          <a:bodyPr/>
          <a:lstStyle/>
          <a:p>
            <a:r>
              <a:rPr lang="en-GB" dirty="0"/>
              <a:t>Clara Chatbot is available in Teams and can be accessed using the following link</a:t>
            </a:r>
          </a:p>
          <a:p>
            <a:pPr marL="180975" lvl="1" indent="0">
              <a:buNone/>
            </a:pPr>
            <a:endParaRPr lang="en-US" dirty="0"/>
          </a:p>
          <a:p>
            <a:pPr marL="180975" lvl="1" indent="0">
              <a:buNone/>
            </a:pPr>
            <a:r>
              <a:rPr lang="en-US" dirty="0"/>
              <a:t>Link :: </a:t>
            </a:r>
            <a:r>
              <a:rPr lang="en-US" u="sng" dirty="0">
                <a:hlinkClick r:id="rId5"/>
              </a:rPr>
              <a:t>http://clara-gbschatbot</a:t>
            </a:r>
            <a:r>
              <a:rPr lang="en-US" dirty="0"/>
              <a:t> </a:t>
            </a:r>
          </a:p>
          <a:p>
            <a:pPr marL="180975" lvl="1" indent="0">
              <a:buNone/>
            </a:pPr>
            <a:endParaRPr lang="en-US" dirty="0"/>
          </a:p>
          <a:p>
            <a:pPr marL="180975" lvl="1" indent="0">
              <a:buNone/>
            </a:pPr>
            <a:r>
              <a:rPr lang="en-US" dirty="0"/>
              <a:t>Clara is accessible on the smartphones as well</a:t>
            </a:r>
          </a:p>
          <a:p>
            <a:pPr marL="180975" lvl="1" indent="0">
              <a:buNone/>
            </a:pPr>
            <a:endParaRPr lang="en-US" dirty="0"/>
          </a:p>
          <a:p>
            <a:pPr marL="180975" lvl="1" indent="-180975">
              <a:spcBef>
                <a:spcPts val="600"/>
              </a:spcBef>
            </a:pPr>
            <a:r>
              <a:rPr lang="en-US" sz="1400" dirty="0"/>
              <a:t>IT Self Service Portal can be accessed using the following link</a:t>
            </a:r>
          </a:p>
          <a:p>
            <a:pPr marL="180975" lvl="1" indent="0">
              <a:buNone/>
            </a:pPr>
            <a:endParaRPr lang="en-US" dirty="0"/>
          </a:p>
          <a:p>
            <a:pPr marL="180975" lvl="1" indent="0">
              <a:buNone/>
            </a:pPr>
            <a:r>
              <a:rPr lang="en-US" dirty="0"/>
              <a:t>Link :: </a:t>
            </a:r>
            <a:r>
              <a:rPr lang="en-US" u="sng" dirty="0">
                <a:hlinkClick r:id="rId6"/>
              </a:rPr>
              <a:t>http://itservicedesk</a:t>
            </a:r>
            <a:r>
              <a:rPr lang="en-US" dirty="0"/>
              <a:t> </a:t>
            </a:r>
            <a:endParaRPr lang="en-GB" dirty="0"/>
          </a:p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7489194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69C857-8CE6-4C9A-9121-6AE61DE42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DC75C-D9F4-410D-AF45-DF89909A8D56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DD3035B-58F1-448E-A82E-36F6E3422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lara and IT Self Service Porta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C053AAB-CA6B-4756-8B3E-4FA5F0CEE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4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A6BF52-CACB-4E88-9D07-FD77C9C67555}"/>
              </a:ext>
            </a:extLst>
          </p:cNvPr>
          <p:cNvSpPr/>
          <p:nvPr/>
        </p:nvSpPr>
        <p:spPr>
          <a:xfrm>
            <a:off x="0" y="9074"/>
            <a:ext cx="8656320" cy="8139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3EE667-4880-46D6-A772-5C1FA6CA65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02" y="87159"/>
            <a:ext cx="657216" cy="64851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1E58D3-611C-4E20-A07D-77634B3DF978}"/>
              </a:ext>
            </a:extLst>
          </p:cNvPr>
          <p:cNvSpPr txBox="1"/>
          <p:nvPr/>
        </p:nvSpPr>
        <p:spPr>
          <a:xfrm>
            <a:off x="888950" y="284295"/>
            <a:ext cx="2256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lara GBS Chatbo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DA733F-6F86-4C33-9BEF-57A963644D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6223" y="182880"/>
            <a:ext cx="1623888" cy="4618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CF73C1-111E-455F-8943-089E17EDD5AA}"/>
              </a:ext>
            </a:extLst>
          </p:cNvPr>
          <p:cNvSpPr txBox="1"/>
          <p:nvPr/>
        </p:nvSpPr>
        <p:spPr>
          <a:xfrm>
            <a:off x="4586735" y="284295"/>
            <a:ext cx="2372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defRPr>
            </a:lvl1pPr>
          </a:lstStyle>
          <a:p>
            <a:r>
              <a:rPr lang="en-GB" dirty="0"/>
              <a:t>IT Self Service Porta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3480229-2DA2-4051-80D7-8946544F7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66" y="1005840"/>
            <a:ext cx="7743826" cy="464310"/>
          </a:xfrm>
        </p:spPr>
        <p:txBody>
          <a:bodyPr/>
          <a:lstStyle/>
          <a:p>
            <a:r>
              <a:rPr lang="en-GB" dirty="0"/>
              <a:t>Featur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FE8AA1A-F15F-4843-9830-37BF16834542}"/>
              </a:ext>
            </a:extLst>
          </p:cNvPr>
          <p:cNvSpPr/>
          <p:nvPr/>
        </p:nvSpPr>
        <p:spPr>
          <a:xfrm>
            <a:off x="152400" y="1517904"/>
            <a:ext cx="4023360" cy="29748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lnSpc>
                <a:spcPct val="150000"/>
              </a:lnSpc>
            </a:pPr>
            <a:r>
              <a:rPr lang="en-US" sz="1400" b="1" dirty="0">
                <a:solidFill>
                  <a:schemeClr val="tx2"/>
                </a:solidFill>
              </a:rPr>
              <a:t>CLARA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Request forms which would trigger an approval to reporting manager wherever necessary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Incident reporting forms to report any kind of IT issues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Self help solutions and FAQs are updated which would help the end users to resolve the issues instantly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Check the status of their open incidents and escalate if required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B3F123-D4ED-4F7D-A9DA-61FB2CCA82EF}"/>
              </a:ext>
            </a:extLst>
          </p:cNvPr>
          <p:cNvSpPr/>
          <p:nvPr/>
        </p:nvSpPr>
        <p:spPr>
          <a:xfrm>
            <a:off x="4261104" y="1517904"/>
            <a:ext cx="4322064" cy="29748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lnSpc>
                <a:spcPct val="200000"/>
              </a:lnSpc>
            </a:pPr>
            <a:r>
              <a:rPr lang="en-US" sz="1200" b="1" dirty="0">
                <a:solidFill>
                  <a:schemeClr val="tx2"/>
                </a:solidFill>
              </a:rPr>
              <a:t>IT SELF SERVICE PORTAL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Request forms which would trigger an approval to reporting manager wherever necessary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Incident reporting forms to report any kind of IT issues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Check the status of their open incidents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/>
                </a:solidFill>
              </a:rPr>
              <a:t>Review the resolved incidents and reopen the incidents if required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GB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416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69C857-8CE6-4C9A-9121-6AE61DE42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DC75C-D9F4-410D-AF45-DF89909A8D56}" type="datetime4">
              <a:rPr lang="en-GB" smtClean="0"/>
              <a:t>29 May 2020</a:t>
            </a:fld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DD3035B-58F1-448E-A82E-36F6E3422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lara and IT Self Service Porta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C053AAB-CA6B-4756-8B3E-4FA5F0CEE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t>5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A6BF52-CACB-4E88-9D07-FD77C9C67555}"/>
              </a:ext>
            </a:extLst>
          </p:cNvPr>
          <p:cNvSpPr/>
          <p:nvPr/>
        </p:nvSpPr>
        <p:spPr>
          <a:xfrm>
            <a:off x="0" y="9074"/>
            <a:ext cx="8656320" cy="8139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3EE667-4880-46D6-A772-5C1FA6CA65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02" y="87159"/>
            <a:ext cx="657216" cy="64851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1E58D3-611C-4E20-A07D-77634B3DF978}"/>
              </a:ext>
            </a:extLst>
          </p:cNvPr>
          <p:cNvSpPr txBox="1"/>
          <p:nvPr/>
        </p:nvSpPr>
        <p:spPr>
          <a:xfrm>
            <a:off x="888950" y="284295"/>
            <a:ext cx="2256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lara GBS Chatbo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DA733F-6F86-4C33-9BEF-57A963644D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6223" y="182880"/>
            <a:ext cx="1623888" cy="4618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CF73C1-111E-455F-8943-089E17EDD5AA}"/>
              </a:ext>
            </a:extLst>
          </p:cNvPr>
          <p:cNvSpPr txBox="1"/>
          <p:nvPr/>
        </p:nvSpPr>
        <p:spPr>
          <a:xfrm>
            <a:off x="4586735" y="284295"/>
            <a:ext cx="2372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defRPr>
            </a:lvl1pPr>
          </a:lstStyle>
          <a:p>
            <a:r>
              <a:rPr lang="en-GB" dirty="0"/>
              <a:t>IT Self Service Porta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3480229-2DA2-4051-80D7-8946544F7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66" y="1005840"/>
            <a:ext cx="7743826" cy="464310"/>
          </a:xfrm>
        </p:spPr>
        <p:txBody>
          <a:bodyPr/>
          <a:lstStyle/>
          <a:p>
            <a:r>
              <a:rPr lang="en-GB" dirty="0"/>
              <a:t>User Guide</a:t>
            </a:r>
          </a:p>
        </p:txBody>
      </p:sp>
      <p:graphicFrame>
        <p:nvGraphicFramePr>
          <p:cNvPr id="16" name="Object 15">
            <a:extLst>
              <a:ext uri="{FF2B5EF4-FFF2-40B4-BE49-F238E27FC236}">
                <a16:creationId xmlns:a16="http://schemas.microsoft.com/office/drawing/2014/main" id="{857C564B-849E-49C0-A648-1BB7258955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2231917"/>
              </p:ext>
            </p:extLst>
          </p:nvPr>
        </p:nvGraphicFramePr>
        <p:xfrm>
          <a:off x="3413760" y="288773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Acrobat Document" showAsIcon="1" r:id="rId6" imgW="914400" imgH="771480" progId="AcroExch.Document.DC">
                  <p:embed/>
                </p:oleObj>
              </mc:Choice>
              <mc:Fallback>
                <p:oleObj name="Acrobat Document" showAsIcon="1" r:id="rId6" imgW="914400" imgH="771480" progId="AcroExch.Document.DC">
                  <p:embed/>
                  <p:pic>
                    <p:nvPicPr>
                      <p:cNvPr id="16" name="Object 15">
                        <a:extLst>
                          <a:ext uri="{FF2B5EF4-FFF2-40B4-BE49-F238E27FC236}">
                            <a16:creationId xmlns:a16="http://schemas.microsoft.com/office/drawing/2014/main" id="{857C564B-849E-49C0-A648-1BB725895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413760" y="288773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63437197-5595-4B25-9A79-2E0734DB7441}"/>
              </a:ext>
            </a:extLst>
          </p:cNvPr>
          <p:cNvSpPr txBox="1"/>
          <p:nvPr/>
        </p:nvSpPr>
        <p:spPr>
          <a:xfrm>
            <a:off x="270066" y="3093466"/>
            <a:ext cx="2458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b="1" dirty="0">
                <a:solidFill>
                  <a:schemeClr val="tx1"/>
                </a:solidFill>
              </a:rPr>
              <a:t>IT Self Service Port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ADC70C-9184-4068-8E10-DEB28F3F18EC}"/>
              </a:ext>
            </a:extLst>
          </p:cNvPr>
          <p:cNvSpPr txBox="1"/>
          <p:nvPr/>
        </p:nvSpPr>
        <p:spPr>
          <a:xfrm>
            <a:off x="270066" y="1933079"/>
            <a:ext cx="2458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b="1" dirty="0">
                <a:solidFill>
                  <a:schemeClr val="tx1"/>
                </a:solidFill>
              </a:rPr>
              <a:t>Clara</a:t>
            </a:r>
          </a:p>
        </p:txBody>
      </p:sp>
      <p:graphicFrame>
        <p:nvGraphicFramePr>
          <p:cNvPr id="21" name="Object 20">
            <a:extLst>
              <a:ext uri="{FF2B5EF4-FFF2-40B4-BE49-F238E27FC236}">
                <a16:creationId xmlns:a16="http://schemas.microsoft.com/office/drawing/2014/main" id="{F63AC95D-A2AD-4511-AC68-8EFBF66F7C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860543"/>
              </p:ext>
            </p:extLst>
          </p:nvPr>
        </p:nvGraphicFramePr>
        <p:xfrm>
          <a:off x="3413760" y="188216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Acrobat Document" showAsIcon="1" r:id="rId8" imgW="914400" imgH="771480" progId="AcroExch.Document.DC">
                  <p:embed/>
                </p:oleObj>
              </mc:Choice>
              <mc:Fallback>
                <p:oleObj name="Acrobat Document" showAsIcon="1" r:id="rId8" imgW="914400" imgH="771480" progId="AcroExch.Document.DC">
                  <p:embed/>
                  <p:pic>
                    <p:nvPicPr>
                      <p:cNvPr id="21" name="Object 20">
                        <a:extLst>
                          <a:ext uri="{FF2B5EF4-FFF2-40B4-BE49-F238E27FC236}">
                            <a16:creationId xmlns:a16="http://schemas.microsoft.com/office/drawing/2014/main" id="{F63AC95D-A2AD-4511-AC68-8EFBF66F7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413760" y="188216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8824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27DF4-4C7C-4DC1-918C-B33265368029}" type="datetime4">
              <a:rPr lang="en-GB" smtClean="0"/>
              <a:pPr/>
              <a:t>29 May 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EED2D-A8C6-40D5-9733-A867150172B6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</a:t>
            </a:r>
            <a:endParaRPr lang="en-GB" dirty="0"/>
          </a:p>
        </p:txBody>
      </p:sp>
      <p:grpSp>
        <p:nvGrpSpPr>
          <p:cNvPr id="40" name="Group 39"/>
          <p:cNvGrpSpPr/>
          <p:nvPr/>
        </p:nvGrpSpPr>
        <p:grpSpPr bwMode="gray">
          <a:xfrm>
            <a:off x="465138" y="2147937"/>
            <a:ext cx="2462211" cy="2225625"/>
            <a:chOff x="465138" y="1988987"/>
            <a:chExt cx="2638057" cy="2384576"/>
          </a:xfrm>
        </p:grpSpPr>
        <p:grpSp>
          <p:nvGrpSpPr>
            <p:cNvPr id="31" name="Group 30"/>
            <p:cNvGrpSpPr/>
            <p:nvPr/>
          </p:nvGrpSpPr>
          <p:grpSpPr bwMode="gray">
            <a:xfrm>
              <a:off x="465138" y="1988987"/>
              <a:ext cx="2638057" cy="2384576"/>
              <a:chOff x="465138" y="1276350"/>
              <a:chExt cx="3426447" cy="3097213"/>
            </a:xfrm>
          </p:grpSpPr>
          <p:grpSp>
            <p:nvGrpSpPr>
              <p:cNvPr id="15" name="Group 4"/>
              <p:cNvGrpSpPr>
                <a:grpSpLocks noChangeAspect="1"/>
              </p:cNvGrpSpPr>
              <p:nvPr/>
            </p:nvGrpSpPr>
            <p:grpSpPr bwMode="gray">
              <a:xfrm>
                <a:off x="465138" y="1276350"/>
                <a:ext cx="468594" cy="3097213"/>
                <a:chOff x="293" y="825"/>
                <a:chExt cx="292" cy="1930"/>
              </a:xfrm>
            </p:grpSpPr>
            <p:sp>
              <p:nvSpPr>
                <p:cNvPr id="16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293" y="825"/>
                  <a:ext cx="292" cy="19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000"/>
                </a:p>
              </p:txBody>
            </p:sp>
            <p:sp>
              <p:nvSpPr>
                <p:cNvPr id="20" name="Freeform 8">
                  <a:hlinkClick r:id="rId3"/>
                </p:cNvPr>
                <p:cNvSpPr>
                  <a:spLocks noEditPoints="1"/>
                </p:cNvSpPr>
                <p:nvPr/>
              </p:nvSpPr>
              <p:spPr bwMode="gray">
                <a:xfrm>
                  <a:off x="294" y="2467"/>
                  <a:ext cx="290" cy="288"/>
                </a:xfrm>
                <a:custGeom>
                  <a:avLst/>
                  <a:gdLst>
                    <a:gd name="T0" fmla="*/ 208 w 304"/>
                    <a:gd name="T1" fmla="*/ 178 h 304"/>
                    <a:gd name="T2" fmla="*/ 208 w 304"/>
                    <a:gd name="T3" fmla="*/ 180 h 304"/>
                    <a:gd name="T4" fmla="*/ 208 w 304"/>
                    <a:gd name="T5" fmla="*/ 180 h 304"/>
                    <a:gd name="T6" fmla="*/ 197 w 304"/>
                    <a:gd name="T7" fmla="*/ 188 h 304"/>
                    <a:gd name="T8" fmla="*/ 198 w 304"/>
                    <a:gd name="T9" fmla="*/ 188 h 304"/>
                    <a:gd name="T10" fmla="*/ 152 w 304"/>
                    <a:gd name="T11" fmla="*/ 191 h 304"/>
                    <a:gd name="T12" fmla="*/ 106 w 304"/>
                    <a:gd name="T13" fmla="*/ 188 h 304"/>
                    <a:gd name="T14" fmla="*/ 107 w 304"/>
                    <a:gd name="T15" fmla="*/ 188 h 304"/>
                    <a:gd name="T16" fmla="*/ 96 w 304"/>
                    <a:gd name="T17" fmla="*/ 180 h 304"/>
                    <a:gd name="T18" fmla="*/ 96 w 304"/>
                    <a:gd name="T19" fmla="*/ 180 h 304"/>
                    <a:gd name="T20" fmla="*/ 96 w 304"/>
                    <a:gd name="T21" fmla="*/ 178 h 304"/>
                    <a:gd name="T22" fmla="*/ 94 w 304"/>
                    <a:gd name="T23" fmla="*/ 151 h 304"/>
                    <a:gd name="T24" fmla="*/ 96 w 304"/>
                    <a:gd name="T25" fmla="*/ 123 h 304"/>
                    <a:gd name="T26" fmla="*/ 96 w 304"/>
                    <a:gd name="T27" fmla="*/ 122 h 304"/>
                    <a:gd name="T28" fmla="*/ 96 w 304"/>
                    <a:gd name="T29" fmla="*/ 121 h 304"/>
                    <a:gd name="T30" fmla="*/ 107 w 304"/>
                    <a:gd name="T31" fmla="*/ 114 h 304"/>
                    <a:gd name="T32" fmla="*/ 106 w 304"/>
                    <a:gd name="T33" fmla="*/ 114 h 304"/>
                    <a:gd name="T34" fmla="*/ 152 w 304"/>
                    <a:gd name="T35" fmla="*/ 111 h 304"/>
                    <a:gd name="T36" fmla="*/ 198 w 304"/>
                    <a:gd name="T37" fmla="*/ 114 h 304"/>
                    <a:gd name="T38" fmla="*/ 197 w 304"/>
                    <a:gd name="T39" fmla="*/ 114 h 304"/>
                    <a:gd name="T40" fmla="*/ 208 w 304"/>
                    <a:gd name="T41" fmla="*/ 121 h 304"/>
                    <a:gd name="T42" fmla="*/ 208 w 304"/>
                    <a:gd name="T43" fmla="*/ 122 h 304"/>
                    <a:gd name="T44" fmla="*/ 208 w 304"/>
                    <a:gd name="T45" fmla="*/ 123 h 304"/>
                    <a:gd name="T46" fmla="*/ 210 w 304"/>
                    <a:gd name="T47" fmla="*/ 151 h 304"/>
                    <a:gd name="T48" fmla="*/ 208 w 304"/>
                    <a:gd name="T49" fmla="*/ 178 h 304"/>
                    <a:gd name="T50" fmla="*/ 0 w 304"/>
                    <a:gd name="T51" fmla="*/ 304 h 304"/>
                    <a:gd name="T52" fmla="*/ 304 w 304"/>
                    <a:gd name="T53" fmla="*/ 304 h 304"/>
                    <a:gd name="T54" fmla="*/ 304 w 304"/>
                    <a:gd name="T55" fmla="*/ 0 h 304"/>
                    <a:gd name="T56" fmla="*/ 0 w 304"/>
                    <a:gd name="T57" fmla="*/ 0 h 304"/>
                    <a:gd name="T58" fmla="*/ 0 w 304"/>
                    <a:gd name="T59" fmla="*/ 304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04" h="304">
                      <a:moveTo>
                        <a:pt x="208" y="178"/>
                      </a:moveTo>
                      <a:cubicBezTo>
                        <a:pt x="208" y="179"/>
                        <a:pt x="208" y="179"/>
                        <a:pt x="208" y="180"/>
                      </a:cubicBezTo>
                      <a:cubicBezTo>
                        <a:pt x="208" y="180"/>
                        <a:pt x="208" y="180"/>
                        <a:pt x="208" y="180"/>
                      </a:cubicBezTo>
                      <a:cubicBezTo>
                        <a:pt x="206" y="185"/>
                        <a:pt x="202" y="188"/>
                        <a:pt x="197" y="188"/>
                      </a:cubicBezTo>
                      <a:cubicBezTo>
                        <a:pt x="198" y="188"/>
                        <a:pt x="198" y="188"/>
                        <a:pt x="198" y="188"/>
                      </a:cubicBezTo>
                      <a:cubicBezTo>
                        <a:pt x="198" y="188"/>
                        <a:pt x="178" y="191"/>
                        <a:pt x="152" y="191"/>
                      </a:cubicBezTo>
                      <a:cubicBezTo>
                        <a:pt x="126" y="191"/>
                        <a:pt x="106" y="188"/>
                        <a:pt x="106" y="188"/>
                      </a:cubicBezTo>
                      <a:cubicBezTo>
                        <a:pt x="107" y="188"/>
                        <a:pt x="107" y="188"/>
                        <a:pt x="107" y="188"/>
                      </a:cubicBezTo>
                      <a:cubicBezTo>
                        <a:pt x="102" y="188"/>
                        <a:pt x="98" y="185"/>
                        <a:pt x="96" y="180"/>
                      </a:cubicBezTo>
                      <a:cubicBezTo>
                        <a:pt x="96" y="180"/>
                        <a:pt x="96" y="180"/>
                        <a:pt x="96" y="180"/>
                      </a:cubicBezTo>
                      <a:cubicBezTo>
                        <a:pt x="96" y="179"/>
                        <a:pt x="96" y="179"/>
                        <a:pt x="96" y="178"/>
                      </a:cubicBezTo>
                      <a:cubicBezTo>
                        <a:pt x="95" y="173"/>
                        <a:pt x="94" y="163"/>
                        <a:pt x="94" y="151"/>
                      </a:cubicBezTo>
                      <a:cubicBezTo>
                        <a:pt x="94" y="139"/>
                        <a:pt x="95" y="129"/>
                        <a:pt x="96" y="123"/>
                      </a:cubicBezTo>
                      <a:cubicBezTo>
                        <a:pt x="96" y="123"/>
                        <a:pt x="96" y="123"/>
                        <a:pt x="96" y="122"/>
                      </a:cubicBezTo>
                      <a:cubicBezTo>
                        <a:pt x="96" y="122"/>
                        <a:pt x="96" y="122"/>
                        <a:pt x="96" y="121"/>
                      </a:cubicBezTo>
                      <a:cubicBezTo>
                        <a:pt x="98" y="117"/>
                        <a:pt x="102" y="114"/>
                        <a:pt x="107" y="114"/>
                      </a:cubicBezTo>
                      <a:cubicBezTo>
                        <a:pt x="106" y="114"/>
                        <a:pt x="106" y="114"/>
                        <a:pt x="106" y="114"/>
                      </a:cubicBezTo>
                      <a:cubicBezTo>
                        <a:pt x="106" y="114"/>
                        <a:pt x="126" y="111"/>
                        <a:pt x="152" y="111"/>
                      </a:cubicBezTo>
                      <a:cubicBezTo>
                        <a:pt x="178" y="111"/>
                        <a:pt x="198" y="114"/>
                        <a:pt x="198" y="114"/>
                      </a:cubicBezTo>
                      <a:cubicBezTo>
                        <a:pt x="197" y="114"/>
                        <a:pt x="197" y="114"/>
                        <a:pt x="197" y="114"/>
                      </a:cubicBezTo>
                      <a:cubicBezTo>
                        <a:pt x="202" y="114"/>
                        <a:pt x="206" y="117"/>
                        <a:pt x="208" y="121"/>
                      </a:cubicBezTo>
                      <a:cubicBezTo>
                        <a:pt x="208" y="122"/>
                        <a:pt x="208" y="122"/>
                        <a:pt x="208" y="122"/>
                      </a:cubicBezTo>
                      <a:cubicBezTo>
                        <a:pt x="208" y="123"/>
                        <a:pt x="208" y="123"/>
                        <a:pt x="208" y="123"/>
                      </a:cubicBezTo>
                      <a:cubicBezTo>
                        <a:pt x="209" y="129"/>
                        <a:pt x="210" y="139"/>
                        <a:pt x="210" y="151"/>
                      </a:cubicBezTo>
                      <a:cubicBezTo>
                        <a:pt x="210" y="163"/>
                        <a:pt x="209" y="173"/>
                        <a:pt x="208" y="178"/>
                      </a:cubicBezTo>
                      <a:moveTo>
                        <a:pt x="0" y="304"/>
                      </a:moveTo>
                      <a:cubicBezTo>
                        <a:pt x="304" y="304"/>
                        <a:pt x="304" y="304"/>
                        <a:pt x="304" y="304"/>
                      </a:cubicBezTo>
                      <a:cubicBezTo>
                        <a:pt x="304" y="0"/>
                        <a:pt x="304" y="0"/>
                        <a:pt x="30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30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000"/>
                </a:p>
              </p:txBody>
            </p:sp>
            <p:sp>
              <p:nvSpPr>
                <p:cNvPr id="21" name="Freeform 9"/>
                <p:cNvSpPr>
                  <a:spLocks/>
                </p:cNvSpPr>
                <p:nvPr/>
              </p:nvSpPr>
              <p:spPr bwMode="gray">
                <a:xfrm>
                  <a:off x="426" y="2591"/>
                  <a:ext cx="28" cy="38"/>
                </a:xfrm>
                <a:custGeom>
                  <a:avLst/>
                  <a:gdLst>
                    <a:gd name="T0" fmla="*/ 5 w 30"/>
                    <a:gd name="T1" fmla="*/ 1 h 40"/>
                    <a:gd name="T2" fmla="*/ 2 w 30"/>
                    <a:gd name="T3" fmla="*/ 1 h 40"/>
                    <a:gd name="T4" fmla="*/ 0 w 30"/>
                    <a:gd name="T5" fmla="*/ 3 h 40"/>
                    <a:gd name="T6" fmla="*/ 0 w 30"/>
                    <a:gd name="T7" fmla="*/ 37 h 40"/>
                    <a:gd name="T8" fmla="*/ 2 w 30"/>
                    <a:gd name="T9" fmla="*/ 40 h 40"/>
                    <a:gd name="T10" fmla="*/ 3 w 30"/>
                    <a:gd name="T11" fmla="*/ 40 h 40"/>
                    <a:gd name="T12" fmla="*/ 5 w 30"/>
                    <a:gd name="T13" fmla="*/ 40 h 40"/>
                    <a:gd name="T14" fmla="*/ 28 w 30"/>
                    <a:gd name="T15" fmla="*/ 22 h 40"/>
                    <a:gd name="T16" fmla="*/ 30 w 30"/>
                    <a:gd name="T17" fmla="*/ 20 h 40"/>
                    <a:gd name="T18" fmla="*/ 28 w 30"/>
                    <a:gd name="T19" fmla="*/ 18 h 40"/>
                    <a:gd name="T20" fmla="*/ 5 w 30"/>
                    <a:gd name="T21" fmla="*/ 1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0" h="40">
                      <a:moveTo>
                        <a:pt x="5" y="1"/>
                      </a:moveTo>
                      <a:cubicBezTo>
                        <a:pt x="4" y="0"/>
                        <a:pt x="3" y="0"/>
                        <a:pt x="2" y="1"/>
                      </a:cubicBezTo>
                      <a:cubicBezTo>
                        <a:pt x="1" y="1"/>
                        <a:pt x="0" y="2"/>
                        <a:pt x="0" y="3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38"/>
                        <a:pt x="1" y="39"/>
                        <a:pt x="2" y="40"/>
                      </a:cubicBezTo>
                      <a:cubicBezTo>
                        <a:pt x="2" y="40"/>
                        <a:pt x="3" y="40"/>
                        <a:pt x="3" y="40"/>
                      </a:cubicBezTo>
                      <a:cubicBezTo>
                        <a:pt x="4" y="40"/>
                        <a:pt x="4" y="40"/>
                        <a:pt x="5" y="40"/>
                      </a:cubicBezTo>
                      <a:cubicBezTo>
                        <a:pt x="28" y="22"/>
                        <a:pt x="28" y="22"/>
                        <a:pt x="28" y="22"/>
                      </a:cubicBezTo>
                      <a:cubicBezTo>
                        <a:pt x="29" y="22"/>
                        <a:pt x="30" y="21"/>
                        <a:pt x="30" y="20"/>
                      </a:cubicBezTo>
                      <a:cubicBezTo>
                        <a:pt x="30" y="19"/>
                        <a:pt x="29" y="18"/>
                        <a:pt x="28" y="18"/>
                      </a:cubicBezTo>
                      <a:lnTo>
                        <a:pt x="5" y="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000"/>
                </a:p>
              </p:txBody>
            </p:sp>
          </p:grpSp>
          <p:sp>
            <p:nvSpPr>
              <p:cNvPr id="26" name="Rectangle 25"/>
              <p:cNvSpPr/>
              <p:nvPr/>
            </p:nvSpPr>
            <p:spPr bwMode="gray">
              <a:xfrm>
                <a:off x="1097582" y="3911388"/>
                <a:ext cx="2794002" cy="462175"/>
              </a:xfrm>
              <a:prstGeom prst="rect">
                <a:avLst/>
              </a:prstGeom>
            </p:spPr>
            <p:txBody>
              <a:bodyPr wrap="none" anchor="ctr">
                <a:noAutofit/>
              </a:bodyPr>
              <a:lstStyle/>
              <a:p>
                <a:r>
                  <a:rPr lang="en-GB" sz="1000">
                    <a:solidFill>
                      <a:schemeClr val="bg1"/>
                    </a:solidFill>
                  </a:rPr>
                  <a:t>flsmidth.com/youtube</a:t>
                </a:r>
                <a:endParaRPr lang="en-GB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 bwMode="gray">
              <a:xfrm>
                <a:off x="1097582" y="3253431"/>
                <a:ext cx="2794003" cy="460572"/>
              </a:xfrm>
              <a:prstGeom prst="rect">
                <a:avLst/>
              </a:prstGeom>
            </p:spPr>
            <p:txBody>
              <a:bodyPr wrap="none" anchor="ctr">
                <a:noAutofit/>
              </a:bodyPr>
              <a:lstStyle/>
              <a:p>
                <a:r>
                  <a:rPr lang="en-GB" sz="1000">
                    <a:solidFill>
                      <a:schemeClr val="bg1"/>
                    </a:solidFill>
                  </a:rPr>
                  <a:t>flsmidth.com/instagram</a:t>
                </a:r>
                <a:endParaRPr lang="en-GB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 bwMode="gray">
              <a:xfrm>
                <a:off x="1097582" y="2593868"/>
                <a:ext cx="2794003" cy="462175"/>
              </a:xfrm>
              <a:prstGeom prst="rect">
                <a:avLst/>
              </a:prstGeom>
            </p:spPr>
            <p:txBody>
              <a:bodyPr wrap="none" anchor="ctr">
                <a:noAutofit/>
              </a:bodyPr>
              <a:lstStyle/>
              <a:p>
                <a:r>
                  <a:rPr lang="en-GB" sz="1000">
                    <a:solidFill>
                      <a:schemeClr val="bg1"/>
                    </a:solidFill>
                  </a:rPr>
                  <a:t>flsmidth.com/facebook</a:t>
                </a:r>
                <a:endParaRPr lang="en-GB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 bwMode="gray">
              <a:xfrm>
                <a:off x="1097582" y="1935913"/>
                <a:ext cx="2794003" cy="460572"/>
              </a:xfrm>
              <a:prstGeom prst="rect">
                <a:avLst/>
              </a:prstGeom>
            </p:spPr>
            <p:txBody>
              <a:bodyPr wrap="none" anchor="ctr">
                <a:noAutofit/>
              </a:bodyPr>
              <a:lstStyle/>
              <a:p>
                <a:r>
                  <a:rPr lang="en-GB" sz="1000">
                    <a:solidFill>
                      <a:schemeClr val="bg1"/>
                    </a:solidFill>
                  </a:rPr>
                  <a:t>flsmidth.com/twitter</a:t>
                </a:r>
                <a:endParaRPr lang="en-GB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gray">
              <a:xfrm>
                <a:off x="1097582" y="1277955"/>
                <a:ext cx="2794003" cy="460572"/>
              </a:xfrm>
              <a:prstGeom prst="rect">
                <a:avLst/>
              </a:prstGeom>
            </p:spPr>
            <p:txBody>
              <a:bodyPr wrap="none" anchor="ctr">
                <a:noAutofit/>
              </a:bodyPr>
              <a:lstStyle/>
              <a:p>
                <a:r>
                  <a:rPr lang="en-GB" sz="1000">
                    <a:solidFill>
                      <a:schemeClr val="bg1"/>
                    </a:solidFill>
                  </a:rPr>
                  <a:t>flsmidth.com/linkedin</a:t>
                </a:r>
                <a:endParaRPr lang="en-GB" sz="1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2" name="Freeform 10">
              <a:hlinkClick r:id="rId4"/>
            </p:cNvPr>
            <p:cNvSpPr>
              <a:spLocks/>
            </p:cNvSpPr>
            <p:nvPr/>
          </p:nvSpPr>
          <p:spPr bwMode="gray">
            <a:xfrm>
              <a:off x="589927" y="3674252"/>
              <a:ext cx="106256" cy="66719"/>
            </a:xfrm>
            <a:custGeom>
              <a:avLst/>
              <a:gdLst>
                <a:gd name="T0" fmla="*/ 75 w 90"/>
                <a:gd name="T1" fmla="*/ 12 h 57"/>
                <a:gd name="T2" fmla="*/ 45 w 90"/>
                <a:gd name="T3" fmla="*/ 42 h 57"/>
                <a:gd name="T4" fmla="*/ 14 w 90"/>
                <a:gd name="T5" fmla="*/ 12 h 57"/>
                <a:gd name="T6" fmla="*/ 16 w 90"/>
                <a:gd name="T7" fmla="*/ 0 h 57"/>
                <a:gd name="T8" fmla="*/ 0 w 90"/>
                <a:gd name="T9" fmla="*/ 0 h 57"/>
                <a:gd name="T10" fmla="*/ 0 w 90"/>
                <a:gd name="T11" fmla="*/ 46 h 57"/>
                <a:gd name="T12" fmla="*/ 10 w 90"/>
                <a:gd name="T13" fmla="*/ 57 h 57"/>
                <a:gd name="T14" fmla="*/ 79 w 90"/>
                <a:gd name="T15" fmla="*/ 57 h 57"/>
                <a:gd name="T16" fmla="*/ 90 w 90"/>
                <a:gd name="T17" fmla="*/ 46 h 57"/>
                <a:gd name="T18" fmla="*/ 90 w 90"/>
                <a:gd name="T19" fmla="*/ 0 h 57"/>
                <a:gd name="T20" fmla="*/ 73 w 90"/>
                <a:gd name="T21" fmla="*/ 0 h 57"/>
                <a:gd name="T22" fmla="*/ 75 w 90"/>
                <a:gd name="T23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57">
                  <a:moveTo>
                    <a:pt x="75" y="12"/>
                  </a:moveTo>
                  <a:cubicBezTo>
                    <a:pt x="75" y="28"/>
                    <a:pt x="61" y="42"/>
                    <a:pt x="45" y="42"/>
                  </a:cubicBezTo>
                  <a:cubicBezTo>
                    <a:pt x="28" y="42"/>
                    <a:pt x="14" y="28"/>
                    <a:pt x="14" y="12"/>
                  </a:cubicBezTo>
                  <a:cubicBezTo>
                    <a:pt x="14" y="8"/>
                    <a:pt x="15" y="4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52"/>
                    <a:pt x="4" y="57"/>
                    <a:pt x="10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85" y="57"/>
                    <a:pt x="90" y="52"/>
                    <a:pt x="90" y="46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4" y="4"/>
                    <a:pt x="75" y="8"/>
                    <a:pt x="75" y="1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gray">
            <a:xfrm>
              <a:off x="619579" y="3665603"/>
              <a:ext cx="45715" cy="45715"/>
            </a:xfrm>
            <a:custGeom>
              <a:avLst/>
              <a:gdLst>
                <a:gd name="T0" fmla="*/ 20 w 39"/>
                <a:gd name="T1" fmla="*/ 39 h 39"/>
                <a:gd name="T2" fmla="*/ 39 w 39"/>
                <a:gd name="T3" fmla="*/ 20 h 39"/>
                <a:gd name="T4" fmla="*/ 36 w 39"/>
                <a:gd name="T5" fmla="*/ 8 h 39"/>
                <a:gd name="T6" fmla="*/ 20 w 39"/>
                <a:gd name="T7" fmla="*/ 0 h 39"/>
                <a:gd name="T8" fmla="*/ 4 w 39"/>
                <a:gd name="T9" fmla="*/ 8 h 39"/>
                <a:gd name="T10" fmla="*/ 0 w 39"/>
                <a:gd name="T11" fmla="*/ 20 h 39"/>
                <a:gd name="T12" fmla="*/ 20 w 3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9">
                  <a:moveTo>
                    <a:pt x="20" y="39"/>
                  </a:moveTo>
                  <a:cubicBezTo>
                    <a:pt x="30" y="39"/>
                    <a:pt x="39" y="30"/>
                    <a:pt x="39" y="20"/>
                  </a:cubicBezTo>
                  <a:cubicBezTo>
                    <a:pt x="39" y="15"/>
                    <a:pt x="38" y="11"/>
                    <a:pt x="36" y="8"/>
                  </a:cubicBezTo>
                  <a:cubicBezTo>
                    <a:pt x="32" y="3"/>
                    <a:pt x="26" y="0"/>
                    <a:pt x="20" y="0"/>
                  </a:cubicBezTo>
                  <a:cubicBezTo>
                    <a:pt x="13" y="0"/>
                    <a:pt x="7" y="3"/>
                    <a:pt x="4" y="8"/>
                  </a:cubicBezTo>
                  <a:cubicBezTo>
                    <a:pt x="1" y="11"/>
                    <a:pt x="0" y="15"/>
                    <a:pt x="0" y="20"/>
                  </a:cubicBezTo>
                  <a:cubicBezTo>
                    <a:pt x="0" y="30"/>
                    <a:pt x="9" y="39"/>
                    <a:pt x="20" y="3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gray">
            <a:xfrm>
              <a:off x="671472" y="3638422"/>
              <a:ext cx="22240" cy="22240"/>
            </a:xfrm>
            <a:custGeom>
              <a:avLst/>
              <a:gdLst>
                <a:gd name="T0" fmla="*/ 18 w 18"/>
                <a:gd name="T1" fmla="*/ 18 h 18"/>
                <a:gd name="T2" fmla="*/ 18 w 18"/>
                <a:gd name="T3" fmla="*/ 2 h 18"/>
                <a:gd name="T4" fmla="*/ 18 w 18"/>
                <a:gd name="T5" fmla="*/ 0 h 18"/>
                <a:gd name="T6" fmla="*/ 15 w 18"/>
                <a:gd name="T7" fmla="*/ 0 h 18"/>
                <a:gd name="T8" fmla="*/ 0 w 18"/>
                <a:gd name="T9" fmla="*/ 0 h 18"/>
                <a:gd name="T10" fmla="*/ 0 w 18"/>
                <a:gd name="T11" fmla="*/ 18 h 18"/>
                <a:gd name="T12" fmla="*/ 18 w 1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8">
                  <a:moveTo>
                    <a:pt x="18" y="18"/>
                  </a:moveTo>
                  <a:lnTo>
                    <a:pt x="18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  <p:sp>
          <p:nvSpPr>
            <p:cNvPr id="35" name="Freeform 13">
              <a:hlinkClick r:id="rId4"/>
            </p:cNvPr>
            <p:cNvSpPr>
              <a:spLocks noEditPoints="1"/>
            </p:cNvSpPr>
            <p:nvPr/>
          </p:nvSpPr>
          <p:spPr bwMode="gray">
            <a:xfrm>
              <a:off x="466374" y="3511162"/>
              <a:ext cx="358304" cy="354598"/>
            </a:xfrm>
            <a:custGeom>
              <a:avLst/>
              <a:gdLst>
                <a:gd name="T0" fmla="*/ 205 w 304"/>
                <a:gd name="T1" fmla="*/ 140 h 304"/>
                <a:gd name="T2" fmla="*/ 205 w 304"/>
                <a:gd name="T3" fmla="*/ 186 h 304"/>
                <a:gd name="T4" fmla="*/ 184 w 304"/>
                <a:gd name="T5" fmla="*/ 207 h 304"/>
                <a:gd name="T6" fmla="*/ 115 w 304"/>
                <a:gd name="T7" fmla="*/ 207 h 304"/>
                <a:gd name="T8" fmla="*/ 94 w 304"/>
                <a:gd name="T9" fmla="*/ 186 h 304"/>
                <a:gd name="T10" fmla="*/ 94 w 304"/>
                <a:gd name="T11" fmla="*/ 140 h 304"/>
                <a:gd name="T12" fmla="*/ 94 w 304"/>
                <a:gd name="T13" fmla="*/ 117 h 304"/>
                <a:gd name="T14" fmla="*/ 115 w 304"/>
                <a:gd name="T15" fmla="*/ 96 h 304"/>
                <a:gd name="T16" fmla="*/ 184 w 304"/>
                <a:gd name="T17" fmla="*/ 96 h 304"/>
                <a:gd name="T18" fmla="*/ 205 w 304"/>
                <a:gd name="T19" fmla="*/ 117 h 304"/>
                <a:gd name="T20" fmla="*/ 205 w 304"/>
                <a:gd name="T21" fmla="*/ 140 h 304"/>
                <a:gd name="T22" fmla="*/ 0 w 304"/>
                <a:gd name="T23" fmla="*/ 304 h 304"/>
                <a:gd name="T24" fmla="*/ 304 w 304"/>
                <a:gd name="T25" fmla="*/ 304 h 304"/>
                <a:gd name="T26" fmla="*/ 304 w 304"/>
                <a:gd name="T27" fmla="*/ 0 h 304"/>
                <a:gd name="T28" fmla="*/ 0 w 304"/>
                <a:gd name="T29" fmla="*/ 0 h 304"/>
                <a:gd name="T30" fmla="*/ 0 w 304"/>
                <a:gd name="T31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4" h="304">
                  <a:moveTo>
                    <a:pt x="205" y="140"/>
                  </a:moveTo>
                  <a:cubicBezTo>
                    <a:pt x="205" y="186"/>
                    <a:pt x="205" y="186"/>
                    <a:pt x="205" y="186"/>
                  </a:cubicBezTo>
                  <a:cubicBezTo>
                    <a:pt x="205" y="198"/>
                    <a:pt x="196" y="207"/>
                    <a:pt x="184" y="207"/>
                  </a:cubicBezTo>
                  <a:cubicBezTo>
                    <a:pt x="115" y="207"/>
                    <a:pt x="115" y="207"/>
                    <a:pt x="115" y="207"/>
                  </a:cubicBezTo>
                  <a:cubicBezTo>
                    <a:pt x="103" y="207"/>
                    <a:pt x="94" y="198"/>
                    <a:pt x="94" y="186"/>
                  </a:cubicBezTo>
                  <a:cubicBezTo>
                    <a:pt x="94" y="140"/>
                    <a:pt x="94" y="140"/>
                    <a:pt x="94" y="140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4" y="105"/>
                    <a:pt x="103" y="96"/>
                    <a:pt x="115" y="96"/>
                  </a:cubicBezTo>
                  <a:cubicBezTo>
                    <a:pt x="184" y="96"/>
                    <a:pt x="184" y="96"/>
                    <a:pt x="184" y="96"/>
                  </a:cubicBezTo>
                  <a:cubicBezTo>
                    <a:pt x="196" y="96"/>
                    <a:pt x="205" y="105"/>
                    <a:pt x="205" y="117"/>
                  </a:cubicBezTo>
                  <a:lnTo>
                    <a:pt x="205" y="140"/>
                  </a:lnTo>
                  <a:close/>
                  <a:moveTo>
                    <a:pt x="0" y="304"/>
                  </a:moveTo>
                  <a:cubicBezTo>
                    <a:pt x="304" y="304"/>
                    <a:pt x="304" y="304"/>
                    <a:pt x="304" y="304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  <p:sp>
          <p:nvSpPr>
            <p:cNvPr id="37" name="Freeform 6">
              <a:hlinkClick r:id="rId5"/>
            </p:cNvPr>
            <p:cNvSpPr>
              <a:spLocks noEditPoints="1"/>
            </p:cNvSpPr>
            <p:nvPr/>
          </p:nvSpPr>
          <p:spPr bwMode="gray">
            <a:xfrm>
              <a:off x="466374" y="3003358"/>
              <a:ext cx="358304" cy="357069"/>
            </a:xfrm>
            <a:custGeom>
              <a:avLst/>
              <a:gdLst>
                <a:gd name="T0" fmla="*/ 180 w 304"/>
                <a:gd name="T1" fmla="*/ 131 h 305"/>
                <a:gd name="T2" fmla="*/ 161 w 304"/>
                <a:gd name="T3" fmla="*/ 131 h 305"/>
                <a:gd name="T4" fmla="*/ 161 w 304"/>
                <a:gd name="T5" fmla="*/ 119 h 305"/>
                <a:gd name="T6" fmla="*/ 166 w 304"/>
                <a:gd name="T7" fmla="*/ 113 h 305"/>
                <a:gd name="T8" fmla="*/ 179 w 304"/>
                <a:gd name="T9" fmla="*/ 113 h 305"/>
                <a:gd name="T10" fmla="*/ 179 w 304"/>
                <a:gd name="T11" fmla="*/ 93 h 305"/>
                <a:gd name="T12" fmla="*/ 161 w 304"/>
                <a:gd name="T13" fmla="*/ 93 h 305"/>
                <a:gd name="T14" fmla="*/ 136 w 304"/>
                <a:gd name="T15" fmla="*/ 118 h 305"/>
                <a:gd name="T16" fmla="*/ 136 w 304"/>
                <a:gd name="T17" fmla="*/ 131 h 305"/>
                <a:gd name="T18" fmla="*/ 124 w 304"/>
                <a:gd name="T19" fmla="*/ 131 h 305"/>
                <a:gd name="T20" fmla="*/ 124 w 304"/>
                <a:gd name="T21" fmla="*/ 153 h 305"/>
                <a:gd name="T22" fmla="*/ 136 w 304"/>
                <a:gd name="T23" fmla="*/ 153 h 305"/>
                <a:gd name="T24" fmla="*/ 136 w 304"/>
                <a:gd name="T25" fmla="*/ 212 h 305"/>
                <a:gd name="T26" fmla="*/ 161 w 304"/>
                <a:gd name="T27" fmla="*/ 212 h 305"/>
                <a:gd name="T28" fmla="*/ 161 w 304"/>
                <a:gd name="T29" fmla="*/ 153 h 305"/>
                <a:gd name="T30" fmla="*/ 177 w 304"/>
                <a:gd name="T31" fmla="*/ 153 h 305"/>
                <a:gd name="T32" fmla="*/ 180 w 304"/>
                <a:gd name="T33" fmla="*/ 131 h 305"/>
                <a:gd name="T34" fmla="*/ 0 w 304"/>
                <a:gd name="T35" fmla="*/ 0 h 305"/>
                <a:gd name="T36" fmla="*/ 304 w 304"/>
                <a:gd name="T37" fmla="*/ 0 h 305"/>
                <a:gd name="T38" fmla="*/ 304 w 304"/>
                <a:gd name="T39" fmla="*/ 305 h 305"/>
                <a:gd name="T40" fmla="*/ 0 w 304"/>
                <a:gd name="T41" fmla="*/ 305 h 305"/>
                <a:gd name="T42" fmla="*/ 0 w 304"/>
                <a:gd name="T43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4" h="305">
                  <a:moveTo>
                    <a:pt x="180" y="131"/>
                  </a:moveTo>
                  <a:cubicBezTo>
                    <a:pt x="161" y="131"/>
                    <a:pt x="161" y="131"/>
                    <a:pt x="161" y="131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1" y="114"/>
                    <a:pt x="164" y="113"/>
                    <a:pt x="166" y="113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79" y="93"/>
                    <a:pt x="179" y="93"/>
                    <a:pt x="179" y="93"/>
                  </a:cubicBezTo>
                  <a:cubicBezTo>
                    <a:pt x="161" y="93"/>
                    <a:pt x="161" y="93"/>
                    <a:pt x="161" y="93"/>
                  </a:cubicBezTo>
                  <a:cubicBezTo>
                    <a:pt x="141" y="93"/>
                    <a:pt x="136" y="108"/>
                    <a:pt x="136" y="118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24" y="153"/>
                    <a:pt x="124" y="153"/>
                    <a:pt x="124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6" y="212"/>
                    <a:pt x="136" y="212"/>
                    <a:pt x="136" y="212"/>
                  </a:cubicBezTo>
                  <a:cubicBezTo>
                    <a:pt x="161" y="212"/>
                    <a:pt x="161" y="212"/>
                    <a:pt x="161" y="212"/>
                  </a:cubicBezTo>
                  <a:cubicBezTo>
                    <a:pt x="161" y="153"/>
                    <a:pt x="161" y="153"/>
                    <a:pt x="161" y="153"/>
                  </a:cubicBezTo>
                  <a:cubicBezTo>
                    <a:pt x="177" y="153"/>
                    <a:pt x="177" y="153"/>
                    <a:pt x="177" y="153"/>
                  </a:cubicBezTo>
                  <a:lnTo>
                    <a:pt x="180" y="131"/>
                  </a:lnTo>
                  <a:close/>
                  <a:moveTo>
                    <a:pt x="0" y="0"/>
                  </a:moveTo>
                  <a:cubicBezTo>
                    <a:pt x="304" y="0"/>
                    <a:pt x="304" y="0"/>
                    <a:pt x="304" y="0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0" y="305"/>
                    <a:pt x="0" y="305"/>
                    <a:pt x="0" y="30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  <p:sp>
          <p:nvSpPr>
            <p:cNvPr id="38" name="Freeform 7">
              <a:hlinkClick r:id="rId6"/>
            </p:cNvPr>
            <p:cNvSpPr>
              <a:spLocks noEditPoints="1"/>
            </p:cNvSpPr>
            <p:nvPr/>
          </p:nvSpPr>
          <p:spPr bwMode="gray">
            <a:xfrm>
              <a:off x="466374" y="2496790"/>
              <a:ext cx="358304" cy="355833"/>
            </a:xfrm>
            <a:custGeom>
              <a:avLst/>
              <a:gdLst>
                <a:gd name="T0" fmla="*/ 215 w 304"/>
                <a:gd name="T1" fmla="*/ 111 h 304"/>
                <a:gd name="T2" fmla="*/ 201 w 304"/>
                <a:gd name="T3" fmla="*/ 115 h 304"/>
                <a:gd name="T4" fmla="*/ 212 w 304"/>
                <a:gd name="T5" fmla="*/ 101 h 304"/>
                <a:gd name="T6" fmla="*/ 196 w 304"/>
                <a:gd name="T7" fmla="*/ 107 h 304"/>
                <a:gd name="T8" fmla="*/ 178 w 304"/>
                <a:gd name="T9" fmla="*/ 99 h 304"/>
                <a:gd name="T10" fmla="*/ 154 w 304"/>
                <a:gd name="T11" fmla="*/ 125 h 304"/>
                <a:gd name="T12" fmla="*/ 154 w 304"/>
                <a:gd name="T13" fmla="*/ 131 h 304"/>
                <a:gd name="T14" fmla="*/ 104 w 304"/>
                <a:gd name="T15" fmla="*/ 104 h 304"/>
                <a:gd name="T16" fmla="*/ 100 w 304"/>
                <a:gd name="T17" fmla="*/ 117 h 304"/>
                <a:gd name="T18" fmla="*/ 111 w 304"/>
                <a:gd name="T19" fmla="*/ 139 h 304"/>
                <a:gd name="T20" fmla="*/ 100 w 304"/>
                <a:gd name="T21" fmla="*/ 135 h 304"/>
                <a:gd name="T22" fmla="*/ 100 w 304"/>
                <a:gd name="T23" fmla="*/ 136 h 304"/>
                <a:gd name="T24" fmla="*/ 120 w 304"/>
                <a:gd name="T25" fmla="*/ 162 h 304"/>
                <a:gd name="T26" fmla="*/ 113 w 304"/>
                <a:gd name="T27" fmla="*/ 163 h 304"/>
                <a:gd name="T28" fmla="*/ 109 w 304"/>
                <a:gd name="T29" fmla="*/ 162 h 304"/>
                <a:gd name="T30" fmla="*/ 132 w 304"/>
                <a:gd name="T31" fmla="*/ 181 h 304"/>
                <a:gd name="T32" fmla="*/ 101 w 304"/>
                <a:gd name="T33" fmla="*/ 192 h 304"/>
                <a:gd name="T34" fmla="*/ 95 w 304"/>
                <a:gd name="T35" fmla="*/ 191 h 304"/>
                <a:gd name="T36" fmla="*/ 133 w 304"/>
                <a:gd name="T37" fmla="*/ 203 h 304"/>
                <a:gd name="T38" fmla="*/ 203 w 304"/>
                <a:gd name="T39" fmla="*/ 128 h 304"/>
                <a:gd name="T40" fmla="*/ 203 w 304"/>
                <a:gd name="T41" fmla="*/ 125 h 304"/>
                <a:gd name="T42" fmla="*/ 215 w 304"/>
                <a:gd name="T43" fmla="*/ 111 h 304"/>
                <a:gd name="T44" fmla="*/ 0 w 304"/>
                <a:gd name="T45" fmla="*/ 0 h 304"/>
                <a:gd name="T46" fmla="*/ 304 w 304"/>
                <a:gd name="T47" fmla="*/ 0 h 304"/>
                <a:gd name="T48" fmla="*/ 304 w 304"/>
                <a:gd name="T49" fmla="*/ 304 h 304"/>
                <a:gd name="T50" fmla="*/ 0 w 304"/>
                <a:gd name="T51" fmla="*/ 304 h 304"/>
                <a:gd name="T52" fmla="*/ 0 w 304"/>
                <a:gd name="T5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4" h="304">
                  <a:moveTo>
                    <a:pt x="215" y="111"/>
                  </a:moveTo>
                  <a:cubicBezTo>
                    <a:pt x="211" y="113"/>
                    <a:pt x="206" y="115"/>
                    <a:pt x="201" y="115"/>
                  </a:cubicBezTo>
                  <a:cubicBezTo>
                    <a:pt x="206" y="112"/>
                    <a:pt x="210" y="107"/>
                    <a:pt x="212" y="101"/>
                  </a:cubicBezTo>
                  <a:cubicBezTo>
                    <a:pt x="207" y="104"/>
                    <a:pt x="202" y="106"/>
                    <a:pt x="196" y="107"/>
                  </a:cubicBezTo>
                  <a:cubicBezTo>
                    <a:pt x="192" y="102"/>
                    <a:pt x="185" y="99"/>
                    <a:pt x="178" y="99"/>
                  </a:cubicBezTo>
                  <a:cubicBezTo>
                    <a:pt x="165" y="99"/>
                    <a:pt x="154" y="110"/>
                    <a:pt x="154" y="125"/>
                  </a:cubicBezTo>
                  <a:cubicBezTo>
                    <a:pt x="154" y="127"/>
                    <a:pt x="154" y="129"/>
                    <a:pt x="154" y="131"/>
                  </a:cubicBezTo>
                  <a:cubicBezTo>
                    <a:pt x="134" y="130"/>
                    <a:pt x="116" y="119"/>
                    <a:pt x="104" y="104"/>
                  </a:cubicBezTo>
                  <a:cubicBezTo>
                    <a:pt x="102" y="107"/>
                    <a:pt x="100" y="112"/>
                    <a:pt x="100" y="117"/>
                  </a:cubicBezTo>
                  <a:cubicBezTo>
                    <a:pt x="100" y="126"/>
                    <a:pt x="105" y="134"/>
                    <a:pt x="111" y="139"/>
                  </a:cubicBezTo>
                  <a:cubicBezTo>
                    <a:pt x="107" y="139"/>
                    <a:pt x="103" y="137"/>
                    <a:pt x="100" y="135"/>
                  </a:cubicBezTo>
                  <a:cubicBezTo>
                    <a:pt x="100" y="136"/>
                    <a:pt x="100" y="136"/>
                    <a:pt x="100" y="136"/>
                  </a:cubicBezTo>
                  <a:cubicBezTo>
                    <a:pt x="100" y="149"/>
                    <a:pt x="109" y="159"/>
                    <a:pt x="120" y="162"/>
                  </a:cubicBezTo>
                  <a:cubicBezTo>
                    <a:pt x="118" y="162"/>
                    <a:pt x="116" y="163"/>
                    <a:pt x="113" y="163"/>
                  </a:cubicBezTo>
                  <a:cubicBezTo>
                    <a:pt x="112" y="163"/>
                    <a:pt x="110" y="163"/>
                    <a:pt x="109" y="162"/>
                  </a:cubicBezTo>
                  <a:cubicBezTo>
                    <a:pt x="112" y="173"/>
                    <a:pt x="121" y="180"/>
                    <a:pt x="132" y="181"/>
                  </a:cubicBezTo>
                  <a:cubicBezTo>
                    <a:pt x="123" y="188"/>
                    <a:pt x="113" y="192"/>
                    <a:pt x="101" y="192"/>
                  </a:cubicBezTo>
                  <a:cubicBezTo>
                    <a:pt x="99" y="192"/>
                    <a:pt x="97" y="192"/>
                    <a:pt x="95" y="191"/>
                  </a:cubicBezTo>
                  <a:cubicBezTo>
                    <a:pt x="106" y="199"/>
                    <a:pt x="119" y="203"/>
                    <a:pt x="133" y="203"/>
                  </a:cubicBezTo>
                  <a:cubicBezTo>
                    <a:pt x="178" y="203"/>
                    <a:pt x="203" y="163"/>
                    <a:pt x="203" y="128"/>
                  </a:cubicBezTo>
                  <a:cubicBezTo>
                    <a:pt x="203" y="127"/>
                    <a:pt x="203" y="126"/>
                    <a:pt x="203" y="125"/>
                  </a:cubicBezTo>
                  <a:cubicBezTo>
                    <a:pt x="208" y="121"/>
                    <a:pt x="212" y="116"/>
                    <a:pt x="215" y="111"/>
                  </a:cubicBezTo>
                  <a:moveTo>
                    <a:pt x="0" y="0"/>
                  </a:moveTo>
                  <a:cubicBezTo>
                    <a:pt x="304" y="0"/>
                    <a:pt x="304" y="0"/>
                    <a:pt x="304" y="0"/>
                  </a:cubicBezTo>
                  <a:cubicBezTo>
                    <a:pt x="304" y="304"/>
                    <a:pt x="304" y="304"/>
                    <a:pt x="304" y="304"/>
                  </a:cubicBezTo>
                  <a:cubicBezTo>
                    <a:pt x="0" y="304"/>
                    <a:pt x="0" y="304"/>
                    <a:pt x="0" y="3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  <p:sp>
          <p:nvSpPr>
            <p:cNvPr id="39" name="Freeform 5">
              <a:hlinkClick r:id="rId7"/>
            </p:cNvPr>
            <p:cNvSpPr>
              <a:spLocks noEditPoints="1"/>
            </p:cNvSpPr>
            <p:nvPr/>
          </p:nvSpPr>
          <p:spPr bwMode="gray">
            <a:xfrm>
              <a:off x="466374" y="1990223"/>
              <a:ext cx="358304" cy="354598"/>
            </a:xfrm>
            <a:custGeom>
              <a:avLst/>
              <a:gdLst>
                <a:gd name="T0" fmla="*/ 209 w 304"/>
                <a:gd name="T1" fmla="*/ 204 h 304"/>
                <a:gd name="T2" fmla="*/ 184 w 304"/>
                <a:gd name="T3" fmla="*/ 204 h 304"/>
                <a:gd name="T4" fmla="*/ 184 w 304"/>
                <a:gd name="T5" fmla="*/ 167 h 304"/>
                <a:gd name="T6" fmla="*/ 171 w 304"/>
                <a:gd name="T7" fmla="*/ 151 h 304"/>
                <a:gd name="T8" fmla="*/ 159 w 304"/>
                <a:gd name="T9" fmla="*/ 159 h 304"/>
                <a:gd name="T10" fmla="*/ 159 w 304"/>
                <a:gd name="T11" fmla="*/ 165 h 304"/>
                <a:gd name="T12" fmla="*/ 159 w 304"/>
                <a:gd name="T13" fmla="*/ 204 h 304"/>
                <a:gd name="T14" fmla="*/ 134 w 304"/>
                <a:gd name="T15" fmla="*/ 204 h 304"/>
                <a:gd name="T16" fmla="*/ 134 w 304"/>
                <a:gd name="T17" fmla="*/ 133 h 304"/>
                <a:gd name="T18" fmla="*/ 159 w 304"/>
                <a:gd name="T19" fmla="*/ 133 h 304"/>
                <a:gd name="T20" fmla="*/ 159 w 304"/>
                <a:gd name="T21" fmla="*/ 144 h 304"/>
                <a:gd name="T22" fmla="*/ 181 w 304"/>
                <a:gd name="T23" fmla="*/ 132 h 304"/>
                <a:gd name="T24" fmla="*/ 209 w 304"/>
                <a:gd name="T25" fmla="*/ 164 h 304"/>
                <a:gd name="T26" fmla="*/ 209 w 304"/>
                <a:gd name="T27" fmla="*/ 204 h 304"/>
                <a:gd name="T28" fmla="*/ 109 w 304"/>
                <a:gd name="T29" fmla="*/ 124 h 304"/>
                <a:gd name="T30" fmla="*/ 108 w 304"/>
                <a:gd name="T31" fmla="*/ 124 h 304"/>
                <a:gd name="T32" fmla="*/ 95 w 304"/>
                <a:gd name="T33" fmla="*/ 112 h 304"/>
                <a:gd name="T34" fmla="*/ 109 w 304"/>
                <a:gd name="T35" fmla="*/ 99 h 304"/>
                <a:gd name="T36" fmla="*/ 122 w 304"/>
                <a:gd name="T37" fmla="*/ 112 h 304"/>
                <a:gd name="T38" fmla="*/ 109 w 304"/>
                <a:gd name="T39" fmla="*/ 124 h 304"/>
                <a:gd name="T40" fmla="*/ 120 w 304"/>
                <a:gd name="T41" fmla="*/ 204 h 304"/>
                <a:gd name="T42" fmla="*/ 98 w 304"/>
                <a:gd name="T43" fmla="*/ 204 h 304"/>
                <a:gd name="T44" fmla="*/ 98 w 304"/>
                <a:gd name="T45" fmla="*/ 133 h 304"/>
                <a:gd name="T46" fmla="*/ 120 w 304"/>
                <a:gd name="T47" fmla="*/ 133 h 304"/>
                <a:gd name="T48" fmla="*/ 120 w 304"/>
                <a:gd name="T49" fmla="*/ 204 h 304"/>
                <a:gd name="T50" fmla="*/ 0 w 304"/>
                <a:gd name="T51" fmla="*/ 304 h 304"/>
                <a:gd name="T52" fmla="*/ 304 w 304"/>
                <a:gd name="T53" fmla="*/ 304 h 304"/>
                <a:gd name="T54" fmla="*/ 304 w 304"/>
                <a:gd name="T55" fmla="*/ 0 h 304"/>
                <a:gd name="T56" fmla="*/ 0 w 304"/>
                <a:gd name="T57" fmla="*/ 0 h 304"/>
                <a:gd name="T58" fmla="*/ 0 w 304"/>
                <a:gd name="T59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04" h="304">
                  <a:moveTo>
                    <a:pt x="209" y="204"/>
                  </a:moveTo>
                  <a:cubicBezTo>
                    <a:pt x="184" y="204"/>
                    <a:pt x="184" y="204"/>
                    <a:pt x="184" y="204"/>
                  </a:cubicBezTo>
                  <a:cubicBezTo>
                    <a:pt x="184" y="167"/>
                    <a:pt x="184" y="167"/>
                    <a:pt x="184" y="167"/>
                  </a:cubicBezTo>
                  <a:cubicBezTo>
                    <a:pt x="184" y="157"/>
                    <a:pt x="180" y="151"/>
                    <a:pt x="171" y="151"/>
                  </a:cubicBezTo>
                  <a:cubicBezTo>
                    <a:pt x="165" y="151"/>
                    <a:pt x="161" y="155"/>
                    <a:pt x="159" y="159"/>
                  </a:cubicBezTo>
                  <a:cubicBezTo>
                    <a:pt x="159" y="161"/>
                    <a:pt x="159" y="163"/>
                    <a:pt x="159" y="165"/>
                  </a:cubicBezTo>
                  <a:cubicBezTo>
                    <a:pt x="159" y="204"/>
                    <a:pt x="159" y="204"/>
                    <a:pt x="159" y="204"/>
                  </a:cubicBezTo>
                  <a:cubicBezTo>
                    <a:pt x="134" y="204"/>
                    <a:pt x="134" y="204"/>
                    <a:pt x="134" y="204"/>
                  </a:cubicBezTo>
                  <a:cubicBezTo>
                    <a:pt x="134" y="204"/>
                    <a:pt x="134" y="139"/>
                    <a:pt x="134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9" y="144"/>
                    <a:pt x="159" y="144"/>
                    <a:pt x="159" y="144"/>
                  </a:cubicBezTo>
                  <a:cubicBezTo>
                    <a:pt x="160" y="139"/>
                    <a:pt x="168" y="132"/>
                    <a:pt x="181" y="132"/>
                  </a:cubicBezTo>
                  <a:cubicBezTo>
                    <a:pt x="196" y="132"/>
                    <a:pt x="209" y="142"/>
                    <a:pt x="209" y="164"/>
                  </a:cubicBezTo>
                  <a:lnTo>
                    <a:pt x="209" y="204"/>
                  </a:lnTo>
                  <a:close/>
                  <a:moveTo>
                    <a:pt x="109" y="124"/>
                  </a:moveTo>
                  <a:cubicBezTo>
                    <a:pt x="108" y="124"/>
                    <a:pt x="108" y="124"/>
                    <a:pt x="108" y="124"/>
                  </a:cubicBezTo>
                  <a:cubicBezTo>
                    <a:pt x="100" y="124"/>
                    <a:pt x="95" y="118"/>
                    <a:pt x="95" y="112"/>
                  </a:cubicBezTo>
                  <a:cubicBezTo>
                    <a:pt x="95" y="105"/>
                    <a:pt x="101" y="99"/>
                    <a:pt x="109" y="99"/>
                  </a:cubicBezTo>
                  <a:cubicBezTo>
                    <a:pt x="117" y="99"/>
                    <a:pt x="122" y="105"/>
                    <a:pt x="122" y="112"/>
                  </a:cubicBezTo>
                  <a:cubicBezTo>
                    <a:pt x="122" y="118"/>
                    <a:pt x="117" y="124"/>
                    <a:pt x="109" y="124"/>
                  </a:cubicBezTo>
                  <a:moveTo>
                    <a:pt x="120" y="204"/>
                  </a:moveTo>
                  <a:cubicBezTo>
                    <a:pt x="98" y="204"/>
                    <a:pt x="98" y="204"/>
                    <a:pt x="98" y="204"/>
                  </a:cubicBezTo>
                  <a:cubicBezTo>
                    <a:pt x="98" y="133"/>
                    <a:pt x="98" y="133"/>
                    <a:pt x="98" y="133"/>
                  </a:cubicBezTo>
                  <a:cubicBezTo>
                    <a:pt x="120" y="133"/>
                    <a:pt x="120" y="133"/>
                    <a:pt x="120" y="133"/>
                  </a:cubicBezTo>
                  <a:lnTo>
                    <a:pt x="120" y="204"/>
                  </a:lnTo>
                  <a:close/>
                  <a:moveTo>
                    <a:pt x="0" y="304"/>
                  </a:moveTo>
                  <a:cubicBezTo>
                    <a:pt x="304" y="304"/>
                    <a:pt x="304" y="304"/>
                    <a:pt x="304" y="304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/>
            </a:p>
          </p:txBody>
        </p:sp>
      </p:grpSp>
    </p:spTree>
    <p:extLst>
      <p:ext uri="{BB962C8B-B14F-4D97-AF65-F5344CB8AC3E}">
        <p14:creationId xmlns:p14="http://schemas.microsoft.com/office/powerpoint/2010/main" val="3255648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6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6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6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67"/>
</p:tagLst>
</file>

<file path=ppt/theme/theme1.xml><?xml version="1.0" encoding="utf-8"?>
<a:theme xmlns:a="http://schemas.openxmlformats.org/drawingml/2006/main" name="16_9_grey">
  <a:themeElements>
    <a:clrScheme name="FLSmidth theme 2017">
      <a:dk1>
        <a:srgbClr val="212121"/>
      </a:dk1>
      <a:lt1>
        <a:srgbClr val="FFFFFF"/>
      </a:lt1>
      <a:dk2>
        <a:srgbClr val="002A54"/>
      </a:dk2>
      <a:lt2>
        <a:srgbClr val="ECECEC"/>
      </a:lt2>
      <a:accent1>
        <a:srgbClr val="002A54"/>
      </a:accent1>
      <a:accent2>
        <a:srgbClr val="81ADBC"/>
      </a:accent2>
      <a:accent3>
        <a:srgbClr val="72335F"/>
      </a:accent3>
      <a:accent4>
        <a:srgbClr val="B55075"/>
      </a:accent4>
      <a:accent5>
        <a:srgbClr val="62BBB1"/>
      </a:accent5>
      <a:accent6>
        <a:srgbClr val="BEBEBE"/>
      </a:accent6>
      <a:hlink>
        <a:srgbClr val="5892A6"/>
      </a:hlink>
      <a:folHlink>
        <a:srgbClr val="979797"/>
      </a:folHlink>
    </a:clrScheme>
    <a:fontScheme name="FLSmidth 2017 - theme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ctr"/>
      <a:lstStyle>
        <a:defPPr algn="ctr">
          <a:defRPr sz="1200"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75%">
      <a:srgbClr val="405F7F"/>
    </a:custClr>
    <a:custClr name="FLSmidth Steel Blue 75%">
      <a:srgbClr val="9EBDCA"/>
    </a:custClr>
    <a:custClr name="FLSmidth Plum 75%">
      <a:srgbClr val="926584"/>
    </a:custClr>
    <a:custClr name="FLSmidth Raspberry 75%">
      <a:srgbClr val="C4778F"/>
    </a:custClr>
    <a:custClr name="FLSmidth Turquoise 75%">
      <a:srgbClr val="8AC8C1"/>
    </a:custClr>
    <a:custClr name="FLSmidth Grey 75%">
      <a:srgbClr val="CECECE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50%">
      <a:srgbClr val="7F94A9"/>
    </a:custClr>
    <a:custClr name="FLSmidth Steel Blue 50%">
      <a:srgbClr val="BCD0D9"/>
    </a:custClr>
    <a:custClr name="FLSmidth Plum 50%">
      <a:srgbClr val="B89AAE"/>
    </a:custClr>
    <a:custClr name="FLSmidth Raspberry 50%">
      <a:srgbClr val="D49CAD"/>
    </a:custClr>
    <a:custClr name="FLSmidth Turquoise 50%">
      <a:srgbClr val="B1D8D3"/>
    </a:custClr>
    <a:custClr name="FLSmidth Grey 50%">
      <a:srgbClr val="DEDEDE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25%">
      <a:srgbClr val="B1BCC6"/>
    </a:custClr>
    <a:custClr name="FLSmidth Steel Blue 25%">
      <a:srgbClr val="DBE4E9"/>
    </a:custClr>
    <a:custClr name="FLSmidth Plum 25%">
      <a:srgbClr val="D4C3CF"/>
    </a:custClr>
    <a:custClr name="FLSmidth Raspberry 25%">
      <a:srgbClr val="E6C9D0"/>
    </a:custClr>
    <a:custClr name="FLSmidth Turquoise 25%">
      <a:srgbClr val="D5E9E6"/>
    </a:custClr>
    <a:custClr name="FLSmidth Grey 25%">
      <a:srgbClr val="EFEFE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10%">
      <a:srgbClr val="D4D8DD"/>
    </a:custClr>
    <a:custClr name="FLSmidth Steel Blue 10%">
      <a:srgbClr val="EFF2F3"/>
    </a:custClr>
    <a:custClr name="FLSmidth Plum 10%">
      <a:srgbClr val="E8E0E6"/>
    </a:custClr>
    <a:custClr name="FLSmidth Raspberry 10%">
      <a:srgbClr val="F2E5E7"/>
    </a:custClr>
    <a:custClr name="FLSmidth Turquoise 10%">
      <a:srgbClr val="ECF5F3"/>
    </a:custClr>
    <a:custClr name="FLSmidth Grey 10%">
      <a:srgbClr val="F8F8F8"/>
    </a:custClr>
  </a:custClrLst>
  <a:extLst>
    <a:ext uri="{05A4C25C-085E-4340-85A3-A5531E510DB2}">
      <thm15:themeFamily xmlns:thm15="http://schemas.microsoft.com/office/thememl/2012/main" name="Blank.potx" id="{55840E41-6C02-4D1F-82B7-18BCF3860FA3}" vid="{0D386AF6-9C87-4C0C-BB2A-92DEB51125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75%">
      <a:srgbClr val="405F7F"/>
    </a:custClr>
    <a:custClr name="FLSmidth Steel Blue 75%">
      <a:srgbClr val="9EBDCA"/>
    </a:custClr>
    <a:custClr name="FLSmidth Plum 75%">
      <a:srgbClr val="926584"/>
    </a:custClr>
    <a:custClr name="FLSmidth Raspberry 75%">
      <a:srgbClr val="C4778F"/>
    </a:custClr>
    <a:custClr name="FLSmidth Turquoise 75%">
      <a:srgbClr val="8AC8C1"/>
    </a:custClr>
    <a:custClr name="FLSmidth Grey 75%">
      <a:srgbClr val="CECECE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50%">
      <a:srgbClr val="7F94A9"/>
    </a:custClr>
    <a:custClr name="FLSmidth Steel Blue 50%">
      <a:srgbClr val="BCD0D9"/>
    </a:custClr>
    <a:custClr name="FLSmidth Plum 50%">
      <a:srgbClr val="B89AAE"/>
    </a:custClr>
    <a:custClr name="FLSmidth Raspberry 50%">
      <a:srgbClr val="D49CAD"/>
    </a:custClr>
    <a:custClr name="FLSmidth Turquoise 50%">
      <a:srgbClr val="B1D8D3"/>
    </a:custClr>
    <a:custClr name="FLSmidth Grey 50%">
      <a:srgbClr val="DEDEDE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25%">
      <a:srgbClr val="B1BCC6"/>
    </a:custClr>
    <a:custClr name="FLSmidth Steel Blue 25%">
      <a:srgbClr val="DBE4E9"/>
    </a:custClr>
    <a:custClr name="FLSmidth Plum 25%">
      <a:srgbClr val="D4C3CF"/>
    </a:custClr>
    <a:custClr name="FLSmidth Raspberry 25%">
      <a:srgbClr val="E6C9D0"/>
    </a:custClr>
    <a:custClr name="FLSmidth Turquoise 25%">
      <a:srgbClr val="D5E9E6"/>
    </a:custClr>
    <a:custClr name="FLSmidth Grey 25%">
      <a:srgbClr val="EFEFE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10%">
      <a:srgbClr val="D4D8DD"/>
    </a:custClr>
    <a:custClr name="FLSmidth Steel Blue 10%">
      <a:srgbClr val="EFF2F3"/>
    </a:custClr>
    <a:custClr name="FLSmidth Plum 10%">
      <a:srgbClr val="E8E0E6"/>
    </a:custClr>
    <a:custClr name="FLSmidth Raspberry 10%">
      <a:srgbClr val="F2E5E7"/>
    </a:custClr>
    <a:custClr name="FLSmidth Turquoise 10%">
      <a:srgbClr val="ECF5F3"/>
    </a:custClr>
    <a:custClr name="FLSmidth Grey 10%">
      <a:srgbClr val="F8F8F8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75%">
      <a:srgbClr val="405F7F"/>
    </a:custClr>
    <a:custClr name="FLSmidth Steel Blue 75%">
      <a:srgbClr val="9EBDCA"/>
    </a:custClr>
    <a:custClr name="FLSmidth Plum 75%">
      <a:srgbClr val="926584"/>
    </a:custClr>
    <a:custClr name="FLSmidth Raspberry 75%">
      <a:srgbClr val="C4778F"/>
    </a:custClr>
    <a:custClr name="FLSmidth Turquoise 75%">
      <a:srgbClr val="8AC8C1"/>
    </a:custClr>
    <a:custClr name="FLSmidth Grey 75%">
      <a:srgbClr val="CECECE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50%">
      <a:srgbClr val="7F94A9"/>
    </a:custClr>
    <a:custClr name="FLSmidth Steel Blue 50%">
      <a:srgbClr val="BCD0D9"/>
    </a:custClr>
    <a:custClr name="FLSmidth Plum 50%">
      <a:srgbClr val="B89AAE"/>
    </a:custClr>
    <a:custClr name="FLSmidth Raspberry 50%">
      <a:srgbClr val="D49CAD"/>
    </a:custClr>
    <a:custClr name="FLSmidth Turquoise 50%">
      <a:srgbClr val="B1D8D3"/>
    </a:custClr>
    <a:custClr name="FLSmidth Grey 50%">
      <a:srgbClr val="DEDEDE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25%">
      <a:srgbClr val="B1BCC6"/>
    </a:custClr>
    <a:custClr name="FLSmidth Steel Blue 25%">
      <a:srgbClr val="DBE4E9"/>
    </a:custClr>
    <a:custClr name="FLSmidth Plum 25%">
      <a:srgbClr val="D4C3CF"/>
    </a:custClr>
    <a:custClr name="FLSmidth Raspberry 25%">
      <a:srgbClr val="E6C9D0"/>
    </a:custClr>
    <a:custClr name="FLSmidth Turquoise 25%">
      <a:srgbClr val="D5E9E6"/>
    </a:custClr>
    <a:custClr name="FLSmidth Grey 25%">
      <a:srgbClr val="EFEFE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White ">
      <a:srgbClr val="FFFFFF"/>
    </a:custClr>
    <a:custClr name="FLSmidth Dark Blue 10%">
      <a:srgbClr val="D4D8DD"/>
    </a:custClr>
    <a:custClr name="FLSmidth Steel Blue 10%">
      <a:srgbClr val="EFF2F3"/>
    </a:custClr>
    <a:custClr name="FLSmidth Plum 10%">
      <a:srgbClr val="E8E0E6"/>
    </a:custClr>
    <a:custClr name="FLSmidth Raspberry 10%">
      <a:srgbClr val="F2E5E7"/>
    </a:custClr>
    <a:custClr name="FLSmidth Turquoise 10%">
      <a:srgbClr val="ECF5F3"/>
    </a:custClr>
    <a:custClr name="FLSmidth Grey 10%">
      <a:srgbClr val="F8F8F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6</TotalTime>
  <Words>291</Words>
  <Application>Microsoft Office PowerPoint</Application>
  <PresentationFormat>On-screen Show (16:9)</PresentationFormat>
  <Paragraphs>65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Wingdings</vt:lpstr>
      <vt:lpstr>16_9_grey</vt:lpstr>
      <vt:lpstr>think-cell Slide</vt:lpstr>
      <vt:lpstr>Adobe Acrobat Document</vt:lpstr>
      <vt:lpstr>PowerPoint Presentation</vt:lpstr>
      <vt:lpstr>About </vt:lpstr>
      <vt:lpstr>How to Access</vt:lpstr>
      <vt:lpstr>Features</vt:lpstr>
      <vt:lpstr>User Guide</vt:lpstr>
      <vt:lpstr>Thank you</vt:lpstr>
    </vt:vector>
  </TitlesOfParts>
  <Company>FLSmid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rnima Kamath</dc:creator>
  <cp:lastModifiedBy>Poornima Kamath</cp:lastModifiedBy>
  <cp:revision>5</cp:revision>
  <dcterms:created xsi:type="dcterms:W3CDTF">2020-05-29T06:59:37Z</dcterms:created>
  <dcterms:modified xsi:type="dcterms:W3CDTF">2020-05-29T09:0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D_ShowDocumentInfo">
    <vt:lpwstr>False</vt:lpwstr>
  </property>
  <property fmtid="{D5CDD505-2E9C-101B-9397-08002B2CF9AE}" pid="3" name="sdIsCodeFreeTemplate">
    <vt:lpwstr>True</vt:lpwstr>
  </property>
</Properties>
</file>